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948" r:id="rId5"/>
    <p:sldMasterId id="2147483960" r:id="rId6"/>
    <p:sldMasterId id="2147483964" r:id="rId7"/>
  </p:sldMasterIdLst>
  <p:notesMasterIdLst>
    <p:notesMasterId r:id="rId21"/>
  </p:notesMasterIdLst>
  <p:handoutMasterIdLst>
    <p:handoutMasterId r:id="rId22"/>
  </p:handoutMasterIdLst>
  <p:sldIdLst>
    <p:sldId id="5764" r:id="rId8"/>
    <p:sldId id="5790" r:id="rId9"/>
    <p:sldId id="5791" r:id="rId10"/>
    <p:sldId id="5767" r:id="rId11"/>
    <p:sldId id="5779" r:id="rId12"/>
    <p:sldId id="5787" r:id="rId13"/>
    <p:sldId id="5793" r:id="rId14"/>
    <p:sldId id="5794" r:id="rId15"/>
    <p:sldId id="5795" r:id="rId16"/>
    <p:sldId id="5792" r:id="rId17"/>
    <p:sldId id="5797" r:id="rId18"/>
    <p:sldId id="5796" r:id="rId19"/>
    <p:sldId id="5774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2341" userDrawn="1">
          <p15:clr>
            <a:srgbClr val="A4A3A4"/>
          </p15:clr>
        </p15:guide>
        <p15:guide id="4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й Жандров" initials="АЖ" lastIdx="2" clrIdx="0"/>
  <p:cmAuthor id="2" name="office" initials="Rrr" lastIdx="2" clrIdx="1"/>
  <p:cmAuthor id="3" name="Максим Миненко" initials="ММ" lastIdx="2" clrIdx="2">
    <p:extLst>
      <p:ext uri="{19B8F6BF-5375-455C-9EA6-DF929625EA0E}">
        <p15:presenceInfo xmlns:p15="http://schemas.microsoft.com/office/powerpoint/2012/main" userId="Максим Миненко" providerId="None"/>
      </p:ext>
    </p:extLst>
  </p:cmAuthor>
  <p:cmAuthor id="4" name=" " initials="" lastIdx="2" clrIdx="3">
    <p:extLst>
      <p:ext uri="{19B8F6BF-5375-455C-9EA6-DF929625EA0E}">
        <p15:presenceInfo xmlns:p15="http://schemas.microsoft.com/office/powerpoint/2012/main" userId=" 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6C"/>
    <a:srgbClr val="FF0000"/>
    <a:srgbClr val="05A9E7"/>
    <a:srgbClr val="00B0F0"/>
    <a:srgbClr val="00FFFF"/>
    <a:srgbClr val="0041A0"/>
    <a:srgbClr val="B7B4B2"/>
    <a:srgbClr val="F5F4F6"/>
    <a:srgbClr val="525859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53CA9D-259B-45E5-97C6-F6AC00C5931A}" v="894" dt="2021-03-31T08:19:26.499"/>
    <p1510:client id="{17BBF3F1-FD8F-4DA5-BDC1-F423311FB57E}" v="189" dt="2021-03-31T09:34:13.831"/>
    <p1510:client id="{28ED21B2-ABD4-420F-A0C6-8B9503689DF8}" v="1" dt="2021-03-19T14:00:55.964"/>
    <p1510:client id="{3763EFFC-E2B0-4003-9891-E681895AF9AC}" v="10" dt="2021-04-19T10:07:53.595"/>
    <p1510:client id="{7F7B3F34-C715-4DA5-946C-64B1565F5BD3}" v="20" dt="2021-04-01T06:52:10.463"/>
    <p1510:client id="{88E5B99F-A0EE-2000-D8EC-F5A51706AE72}" v="4" dt="2021-04-01T06:46:03.127"/>
    <p1510:client id="{98C6F777-D3E7-40D0-8EA6-A98399B76E29}" v="2" dt="2021-05-21T07:27:13.196"/>
    <p1510:client id="{A1B7A898-D70C-47F8-A60E-B3673C859B30}" v="16" dt="2021-05-06T08:42:16.277"/>
    <p1510:client id="{A36F4719-399E-4AA5-BCB0-9D65480BAF5D}" v="396" dt="2021-03-31T14:32:42.859"/>
    <p1510:client id="{A8660FA3-EFB2-4522-8A2B-7D1802D582C1}" v="14" dt="2021-07-29T19:51:16.960"/>
    <p1510:client id="{AE7D19BA-DF42-4FC3-B418-E5245C39F135}" v="1" dt="2021-02-19T20:02:27.809"/>
    <p1510:client id="{B4F4C91F-7C6D-46ED-9AB8-D10AEFC65F6F}" v="3" dt="2021-03-19T14:01:20.893"/>
    <p1510:client id="{C70262C5-EBA9-4EBF-A071-F072EB478D9D}" v="742" dt="2021-05-05T15:46:47.713"/>
    <p1510:client id="{F2DE1177-B2FA-41BF-91C1-425CE22175A9}" v="1" dt="2021-04-18T20:52:49.751"/>
    <p1510:client id="{F31D721E-FF19-4FEE-8DD9-5F150D406463}" v="4" dt="2021-04-18T18:59:49.883"/>
    <p1510:client id="{F357DEAD-D4B4-4FA1-89B1-5887403A0184}" v="1" dt="2021-03-31T09:23:58.7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29" autoAdjust="0"/>
    <p:restoredTop sz="78721" autoAdjust="0"/>
  </p:normalViewPr>
  <p:slideViewPr>
    <p:cSldViewPr snapToGrid="0">
      <p:cViewPr>
        <p:scale>
          <a:sx n="60" d="100"/>
          <a:sy n="60" d="100"/>
        </p:scale>
        <p:origin x="2772" y="750"/>
      </p:cViewPr>
      <p:guideLst>
        <p:guide orient="horz" pos="234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366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80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8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Поворозник Ирина" userId="S::ivpovoroznik@severstal.severstalgroup.com::e6d1d7e0-6394-4b4f-95fb-523040259efb" providerId="AD" clId="Web-{F2DE1177-B2FA-41BF-91C1-425CE22175A9}"/>
    <pc:docChg chg="delSld modSection">
      <pc:chgData name="Поворозник Ирина" userId="S::ivpovoroznik@severstal.severstalgroup.com::e6d1d7e0-6394-4b4f-95fb-523040259efb" providerId="AD" clId="Web-{F2DE1177-B2FA-41BF-91C1-425CE22175A9}" dt="2021-04-18T20:52:49.751" v="0"/>
      <pc:docMkLst>
        <pc:docMk/>
      </pc:docMkLst>
      <pc:sldChg chg="del">
        <pc:chgData name="Поворозник Ирина" userId="S::ivpovoroznik@severstal.severstalgroup.com::e6d1d7e0-6394-4b4f-95fb-523040259efb" providerId="AD" clId="Web-{F2DE1177-B2FA-41BF-91C1-425CE22175A9}" dt="2021-04-18T20:52:49.751" v="0"/>
        <pc:sldMkLst>
          <pc:docMk/>
          <pc:sldMk cId="3088155093" sldId="5569"/>
        </pc:sldMkLst>
      </pc:sldChg>
    </pc:docChg>
  </pc:docChgLst>
  <pc:docChgLst>
    <pc:chgData name="Поворозник Ирина" userId="S::ivpovoroznik@severstal.severstalgroup.com::e6d1d7e0-6394-4b4f-95fb-523040259efb" providerId="AD" clId="Web-{F357DEAD-D4B4-4FA1-89B1-5887403A0184}"/>
    <pc:docChg chg="modSld">
      <pc:chgData name="Поворозник Ирина" userId="S::ivpovoroznik@severstal.severstalgroup.com::e6d1d7e0-6394-4b4f-95fb-523040259efb" providerId="AD" clId="Web-{F357DEAD-D4B4-4FA1-89B1-5887403A0184}" dt="2021-03-31T09:23:58.743" v="0"/>
      <pc:docMkLst>
        <pc:docMk/>
      </pc:docMkLst>
      <pc:sldChg chg="mod modShow">
        <pc:chgData name="Поворозник Ирина" userId="S::ivpovoroznik@severstal.severstalgroup.com::e6d1d7e0-6394-4b4f-95fb-523040259efb" providerId="AD" clId="Web-{F357DEAD-D4B4-4FA1-89B1-5887403A0184}" dt="2021-03-31T09:23:58.743" v="0"/>
        <pc:sldMkLst>
          <pc:docMk/>
          <pc:sldMk cId="3088155093" sldId="5569"/>
        </pc:sldMkLst>
      </pc:sldChg>
    </pc:docChg>
  </pc:docChgLst>
  <pc:docChgLst>
    <pc:chgData name="Панова Ольга Вадимовна" userId="S::ov.panova@severstal.severstalgroup.com::e2a5038f-f7d0-41f6-b7a6-f761fb23027e" providerId="AD" clId="Web-{88E5B99F-A0EE-2000-D8EC-F5A51706AE72}"/>
    <pc:docChg chg="modSld">
      <pc:chgData name="Панова Ольга Вадимовна" userId="S::ov.panova@severstal.severstalgroup.com::e2a5038f-f7d0-41f6-b7a6-f761fb23027e" providerId="AD" clId="Web-{88E5B99F-A0EE-2000-D8EC-F5A51706AE72}" dt="2021-04-01T06:46:03.127" v="2"/>
      <pc:docMkLst>
        <pc:docMk/>
      </pc:docMkLst>
      <pc:sldChg chg="addSp delSp modSp">
        <pc:chgData name="Панова Ольга Вадимовна" userId="S::ov.panova@severstal.severstalgroup.com::e2a5038f-f7d0-41f6-b7a6-f761fb23027e" providerId="AD" clId="Web-{88E5B99F-A0EE-2000-D8EC-F5A51706AE72}" dt="2021-04-01T06:46:03.127" v="2"/>
        <pc:sldMkLst>
          <pc:docMk/>
          <pc:sldMk cId="3501973252" sldId="5588"/>
        </pc:sldMkLst>
        <pc:picChg chg="add del mod">
          <ac:chgData name="Панова Ольга Вадимовна" userId="S::ov.panova@severstal.severstalgroup.com::e2a5038f-f7d0-41f6-b7a6-f761fb23027e" providerId="AD" clId="Web-{88E5B99F-A0EE-2000-D8EC-F5A51706AE72}" dt="2021-04-01T06:46:03.127" v="2"/>
          <ac:picMkLst>
            <pc:docMk/>
            <pc:sldMk cId="3501973252" sldId="5588"/>
            <ac:picMk id="4" creationId="{E93A2327-EE8D-4BD7-8A99-63C18BEFCA1B}"/>
          </ac:picMkLst>
        </pc:picChg>
      </pc:sldChg>
    </pc:docChg>
  </pc:docChgLst>
  <pc:docChgLst>
    <pc:chgData name="Стромова Екатерина Вадимовна" userId="S::ev.stromova@severstal.com::26568c30-1fd9-4019-9301-6bdd8c14821f" providerId="AD" clId="Web-{C70262C5-EBA9-4EBF-A071-F072EB478D9D}"/>
    <pc:docChg chg="addSld delSld modSld modSection">
      <pc:chgData name="Стромова Екатерина Вадимовна" userId="S::ev.stromova@severstal.com::26568c30-1fd9-4019-9301-6bdd8c14821f" providerId="AD" clId="Web-{C70262C5-EBA9-4EBF-A071-F072EB478D9D}" dt="2021-05-05T15:46:47.713" v="417" actId="20577"/>
      <pc:docMkLst>
        <pc:docMk/>
      </pc:docMkLst>
      <pc:sldChg chg="modSp">
        <pc:chgData name="Стромова Екатерина Вадимовна" userId="S::ev.stromova@severstal.com::26568c30-1fd9-4019-9301-6bdd8c14821f" providerId="AD" clId="Web-{C70262C5-EBA9-4EBF-A071-F072EB478D9D}" dt="2021-05-05T15:46:47.713" v="417" actId="20577"/>
        <pc:sldMkLst>
          <pc:docMk/>
          <pc:sldMk cId="3431636413" sldId="5592"/>
        </pc:sldMkLst>
        <pc:spChg chg="mod">
          <ac:chgData name="Стромова Екатерина Вадимовна" userId="S::ev.stromova@severstal.com::26568c30-1fd9-4019-9301-6bdd8c14821f" providerId="AD" clId="Web-{C70262C5-EBA9-4EBF-A071-F072EB478D9D}" dt="2021-05-05T15:46:20.369" v="416" actId="14100"/>
          <ac:spMkLst>
            <pc:docMk/>
            <pc:sldMk cId="3431636413" sldId="5592"/>
            <ac:spMk id="11" creationId="{00000000-0000-0000-0000-000000000000}"/>
          </ac:spMkLst>
        </pc:spChg>
        <pc:spChg chg="mod">
          <ac:chgData name="Стромова Екатерина Вадимовна" userId="S::ev.stromova@severstal.com::26568c30-1fd9-4019-9301-6bdd8c14821f" providerId="AD" clId="Web-{C70262C5-EBA9-4EBF-A071-F072EB478D9D}" dt="2021-05-05T15:45:25.805" v="411" actId="20577"/>
          <ac:spMkLst>
            <pc:docMk/>
            <pc:sldMk cId="3431636413" sldId="5592"/>
            <ac:spMk id="25" creationId="{00000000-0000-0000-0000-000000000000}"/>
          </ac:spMkLst>
        </pc:spChg>
        <pc:spChg chg="mod">
          <ac:chgData name="Стромова Екатерина Вадимовна" userId="S::ev.stromova@severstal.com::26568c30-1fd9-4019-9301-6bdd8c14821f" providerId="AD" clId="Web-{C70262C5-EBA9-4EBF-A071-F072EB478D9D}" dt="2021-05-05T15:46:47.713" v="417" actId="20577"/>
          <ac:spMkLst>
            <pc:docMk/>
            <pc:sldMk cId="3431636413" sldId="5592"/>
            <ac:spMk id="27" creationId="{00000000-0000-0000-0000-000000000000}"/>
          </ac:spMkLst>
        </pc:spChg>
      </pc:sldChg>
      <pc:sldChg chg="addSp modSp new del">
        <pc:chgData name="Стромова Екатерина Вадимовна" userId="S::ev.stromova@severstal.com::26568c30-1fd9-4019-9301-6bdd8c14821f" providerId="AD" clId="Web-{C70262C5-EBA9-4EBF-A071-F072EB478D9D}" dt="2021-05-05T15:31:58.851" v="58"/>
        <pc:sldMkLst>
          <pc:docMk/>
          <pc:sldMk cId="1417755197" sldId="5598"/>
        </pc:sldMkLst>
        <pc:graphicFrameChg chg="add mod modGraphic">
          <ac:chgData name="Стромова Екатерина Вадимовна" userId="S::ev.stromova@severstal.com::26568c30-1fd9-4019-9301-6bdd8c14821f" providerId="AD" clId="Web-{C70262C5-EBA9-4EBF-A071-F072EB478D9D}" dt="2021-05-05T15:31:43.163" v="57"/>
          <ac:graphicFrameMkLst>
            <pc:docMk/>
            <pc:sldMk cId="1417755197" sldId="5598"/>
            <ac:graphicFrameMk id="6" creationId="{E2A7481C-586F-4783-A8D9-11AAFD79FA22}"/>
          </ac:graphicFrameMkLst>
        </pc:graphicFrameChg>
      </pc:sldChg>
    </pc:docChg>
  </pc:docChgLst>
  <pc:docChgLst>
    <pc:chgData name="Стромова Екатерина Вадимовна" userId="S::ev.stromova@severstal.com::26568c30-1fd9-4019-9301-6bdd8c14821f" providerId="AD" clId="Web-{A1B7A898-D70C-47F8-A60E-B3673C859B30}"/>
    <pc:docChg chg="modSld">
      <pc:chgData name="Стромова Екатерина Вадимовна" userId="S::ev.stromova@severstal.com::26568c30-1fd9-4019-9301-6bdd8c14821f" providerId="AD" clId="Web-{A1B7A898-D70C-47F8-A60E-B3673C859B30}" dt="2021-05-06T08:42:16.277" v="7" actId="20577"/>
      <pc:docMkLst>
        <pc:docMk/>
      </pc:docMkLst>
      <pc:sldChg chg="modSp">
        <pc:chgData name="Стромова Екатерина Вадимовна" userId="S::ev.stromova@severstal.com::26568c30-1fd9-4019-9301-6bdd8c14821f" providerId="AD" clId="Web-{A1B7A898-D70C-47F8-A60E-B3673C859B30}" dt="2021-05-06T08:42:16.277" v="7" actId="20577"/>
        <pc:sldMkLst>
          <pc:docMk/>
          <pc:sldMk cId="3431636413" sldId="5592"/>
        </pc:sldMkLst>
        <pc:spChg chg="mod">
          <ac:chgData name="Стромова Екатерина Вадимовна" userId="S::ev.stromova@severstal.com::26568c30-1fd9-4019-9301-6bdd8c14821f" providerId="AD" clId="Web-{A1B7A898-D70C-47F8-A60E-B3673C859B30}" dt="2021-05-06T08:42:16.277" v="7" actId="20577"/>
          <ac:spMkLst>
            <pc:docMk/>
            <pc:sldMk cId="3431636413" sldId="5592"/>
            <ac:spMk id="25" creationId="{00000000-0000-0000-0000-000000000000}"/>
          </ac:spMkLst>
        </pc:spChg>
      </pc:sldChg>
    </pc:docChg>
  </pc:docChgLst>
  <pc:docChgLst>
    <pc:chgData name="Панова Ольга Вадимовна" userId="S::ov.panova@severstal.severstalgroup.com::e2a5038f-f7d0-41f6-b7a6-f761fb23027e" providerId="AD" clId="Web-{7F7B3F34-C715-4DA5-946C-64B1565F5BD3}"/>
    <pc:docChg chg="modSld">
      <pc:chgData name="Панова Ольга Вадимовна" userId="S::ov.panova@severstal.severstalgroup.com::e2a5038f-f7d0-41f6-b7a6-f761fb23027e" providerId="AD" clId="Web-{7F7B3F34-C715-4DA5-946C-64B1565F5BD3}" dt="2021-04-01T06:52:08.525" v="7" actId="20577"/>
      <pc:docMkLst>
        <pc:docMk/>
      </pc:docMkLst>
      <pc:sldChg chg="modSp">
        <pc:chgData name="Панова Ольга Вадимовна" userId="S::ov.panova@severstal.severstalgroup.com::e2a5038f-f7d0-41f6-b7a6-f761fb23027e" providerId="AD" clId="Web-{7F7B3F34-C715-4DA5-946C-64B1565F5BD3}" dt="2021-04-01T06:52:08.525" v="7" actId="20577"/>
        <pc:sldMkLst>
          <pc:docMk/>
          <pc:sldMk cId="443711935" sldId="5538"/>
        </pc:sldMkLst>
        <pc:spChg chg="mod">
          <ac:chgData name="Панова Ольга Вадимовна" userId="S::ov.panova@severstal.severstalgroup.com::e2a5038f-f7d0-41f6-b7a6-f761fb23027e" providerId="AD" clId="Web-{7F7B3F34-C715-4DA5-946C-64B1565F5BD3}" dt="2021-04-01T06:51:58.524" v="1" actId="20577"/>
          <ac:spMkLst>
            <pc:docMk/>
            <pc:sldMk cId="443711935" sldId="5538"/>
            <ac:spMk id="24" creationId="{00000000-0000-0000-0000-000000000000}"/>
          </ac:spMkLst>
        </pc:spChg>
        <pc:spChg chg="mod">
          <ac:chgData name="Панова Ольга Вадимовна" userId="S::ov.panova@severstal.severstalgroup.com::e2a5038f-f7d0-41f6-b7a6-f761fb23027e" providerId="AD" clId="Web-{7F7B3F34-C715-4DA5-946C-64B1565F5BD3}" dt="2021-04-01T06:52:08.525" v="7" actId="20577"/>
          <ac:spMkLst>
            <pc:docMk/>
            <pc:sldMk cId="443711935" sldId="5538"/>
            <ac:spMk id="27" creationId="{00000000-0000-0000-0000-000000000000}"/>
          </ac:spMkLst>
        </pc:spChg>
      </pc:sldChg>
    </pc:docChg>
  </pc:docChgLst>
  <pc:docChgLst>
    <pc:chgData name="Поворозник Ирина" userId="S::ivpovoroznik@severstal.severstalgroup.com::e6d1d7e0-6394-4b4f-95fb-523040259efb" providerId="AD" clId="Web-{3763EFFC-E2B0-4003-9891-E681895AF9AC}"/>
    <pc:docChg chg="modSld">
      <pc:chgData name="Поворозник Ирина" userId="S::ivpovoroznik@severstal.severstalgroup.com::e6d1d7e0-6394-4b4f-95fb-523040259efb" providerId="AD" clId="Web-{3763EFFC-E2B0-4003-9891-E681895AF9AC}" dt="2021-04-19T10:07:53.595" v="7" actId="1076"/>
      <pc:docMkLst>
        <pc:docMk/>
      </pc:docMkLst>
      <pc:sldChg chg="modSp">
        <pc:chgData name="Поворозник Ирина" userId="S::ivpovoroznik@severstal.severstalgroup.com::e6d1d7e0-6394-4b4f-95fb-523040259efb" providerId="AD" clId="Web-{3763EFFC-E2B0-4003-9891-E681895AF9AC}" dt="2021-04-19T10:07:53.595" v="7" actId="1076"/>
        <pc:sldMkLst>
          <pc:docMk/>
          <pc:sldMk cId="2108417845" sldId="5579"/>
        </pc:sldMkLst>
        <pc:spChg chg="mod">
          <ac:chgData name="Поворозник Ирина" userId="S::ivpovoroznik@severstal.severstalgroup.com::e6d1d7e0-6394-4b4f-95fb-523040259efb" providerId="AD" clId="Web-{3763EFFC-E2B0-4003-9891-E681895AF9AC}" dt="2021-04-19T10:07:46.236" v="5" actId="1076"/>
          <ac:spMkLst>
            <pc:docMk/>
            <pc:sldMk cId="2108417845" sldId="5579"/>
            <ac:spMk id="10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3763EFFC-E2B0-4003-9891-E681895AF9AC}" dt="2021-04-19T10:07:53.595" v="7" actId="1076"/>
          <ac:spMkLst>
            <pc:docMk/>
            <pc:sldMk cId="2108417845" sldId="5579"/>
            <ac:spMk id="42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3763EFFC-E2B0-4003-9891-E681895AF9AC}" dt="2021-04-19T10:07:46.001" v="4" actId="14100"/>
          <ac:spMkLst>
            <pc:docMk/>
            <pc:sldMk cId="2108417845" sldId="5579"/>
            <ac:spMk id="72" creationId="{00000000-0000-0000-0000-000000000000}"/>
          </ac:spMkLst>
        </pc:spChg>
      </pc:sldChg>
    </pc:docChg>
  </pc:docChgLst>
  <pc:docChgLst>
    <pc:chgData name="Поворозник Ирина" userId="S::ivpovoroznik@severstal.severstalgroup.com::e6d1d7e0-6394-4b4f-95fb-523040259efb" providerId="AD" clId="Web-{F31D721E-FF19-4FEE-8DD9-5F150D406463}"/>
    <pc:docChg chg="modSld">
      <pc:chgData name="Поворозник Ирина" userId="S::ivpovoroznik@severstal.severstalgroup.com::e6d1d7e0-6394-4b4f-95fb-523040259efb" providerId="AD" clId="Web-{F31D721E-FF19-4FEE-8DD9-5F150D406463}" dt="2021-04-18T18:59:48.539" v="0" actId="20577"/>
      <pc:docMkLst>
        <pc:docMk/>
      </pc:docMkLst>
      <pc:sldChg chg="modSp">
        <pc:chgData name="Поворозник Ирина" userId="S::ivpovoroznik@severstal.severstalgroup.com::e6d1d7e0-6394-4b4f-95fb-523040259efb" providerId="AD" clId="Web-{F31D721E-FF19-4FEE-8DD9-5F150D406463}" dt="2021-04-18T18:59:48.539" v="0" actId="20577"/>
        <pc:sldMkLst>
          <pc:docMk/>
          <pc:sldMk cId="3306651899" sldId="5534"/>
        </pc:sldMkLst>
        <pc:spChg chg="mod">
          <ac:chgData name="Поворозник Ирина" userId="S::ivpovoroznik@severstal.severstalgroup.com::e6d1d7e0-6394-4b4f-95fb-523040259efb" providerId="AD" clId="Web-{F31D721E-FF19-4FEE-8DD9-5F150D406463}" dt="2021-04-18T18:59:48.539" v="0" actId="20577"/>
          <ac:spMkLst>
            <pc:docMk/>
            <pc:sldMk cId="3306651899" sldId="5534"/>
            <ac:spMk id="13" creationId="{00000000-0000-0000-0000-000000000000}"/>
          </ac:spMkLst>
        </pc:spChg>
      </pc:sldChg>
    </pc:docChg>
  </pc:docChgLst>
  <pc:docChgLst>
    <pc:chgData name="Демидова Юлия Николаевна" userId="S::iun.demidova@severstal.severstalgroup.com::174e4a57-21a7-4e35-99fe-3ce9bc46dd33" providerId="AD" clId="Web-{A36F4719-399E-4AA5-BCB0-9D65480BAF5D}"/>
    <pc:docChg chg="modSld">
      <pc:chgData name="Демидова Юлия Николаевна" userId="S::iun.demidova@severstal.severstalgroup.com::174e4a57-21a7-4e35-99fe-3ce9bc46dd33" providerId="AD" clId="Web-{A36F4719-399E-4AA5-BCB0-9D65480BAF5D}" dt="2021-03-31T14:32:36.578" v="4"/>
      <pc:docMkLst>
        <pc:docMk/>
      </pc:docMkLst>
      <pc:sldChg chg="addSp delSp modSp">
        <pc:chgData name="Демидова Юлия Николаевна" userId="S::iun.demidova@severstal.severstalgroup.com::174e4a57-21a7-4e35-99fe-3ce9bc46dd33" providerId="AD" clId="Web-{A36F4719-399E-4AA5-BCB0-9D65480BAF5D}" dt="2021-03-31T14:32:36.578" v="4"/>
        <pc:sldMkLst>
          <pc:docMk/>
          <pc:sldMk cId="2800981162" sldId="5587"/>
        </pc:sldMkLst>
        <pc:spChg chg="del">
          <ac:chgData name="Демидова Юлия Николаевна" userId="S::iun.demidova@severstal.severstalgroup.com::174e4a57-21a7-4e35-99fe-3ce9bc46dd33" providerId="AD" clId="Web-{A36F4719-399E-4AA5-BCB0-9D65480BAF5D}" dt="2021-03-31T14:31:04.776" v="0"/>
          <ac:spMkLst>
            <pc:docMk/>
            <pc:sldMk cId="2800981162" sldId="5587"/>
            <ac:spMk id="6" creationId="{2AC3B1B5-52B6-45FE-B01A-D172A9DB48E7}"/>
          </ac:spMkLst>
        </pc:spChg>
        <pc:graphicFrameChg chg="add del mod">
          <ac:chgData name="Демидова Юлия Николаевна" userId="S::iun.demidova@severstal.severstalgroup.com::174e4a57-21a7-4e35-99fe-3ce9bc46dd33" providerId="AD" clId="Web-{A36F4719-399E-4AA5-BCB0-9D65480BAF5D}" dt="2021-03-31T14:31:26.308" v="2"/>
          <ac:graphicFrameMkLst>
            <pc:docMk/>
            <pc:sldMk cId="2800981162" sldId="5587"/>
            <ac:graphicFrameMk id="7" creationId="{6E8BE680-C824-4B82-9284-CDC4D0BCD511}"/>
          </ac:graphicFrameMkLst>
        </pc:graphicFrameChg>
        <pc:graphicFrameChg chg="add del mod">
          <ac:chgData name="Демидова Юлия Николаевна" userId="S::iun.demidova@severstal.severstalgroup.com::174e4a57-21a7-4e35-99fe-3ce9bc46dd33" providerId="AD" clId="Web-{A36F4719-399E-4AA5-BCB0-9D65480BAF5D}" dt="2021-03-31T14:32:36.578" v="4"/>
          <ac:graphicFrameMkLst>
            <pc:docMk/>
            <pc:sldMk cId="2800981162" sldId="5587"/>
            <ac:graphicFrameMk id="9" creationId="{3B6CE7EA-5E24-4EEB-9574-55DCB647DBB4}"/>
          </ac:graphicFrameMkLst>
        </pc:graphicFrameChg>
      </pc:sldChg>
    </pc:docChg>
  </pc:docChgLst>
  <pc:docChgLst>
    <pc:chgData name="Поворозник Ирина" userId="S::ivpovoroznik@severstal.severstalgroup.com::e6d1d7e0-6394-4b4f-95fb-523040259efb" providerId="AD" clId="Web-{17BBF3F1-FD8F-4DA5-BDC1-F423311FB57E}"/>
    <pc:docChg chg="modSld sldOrd">
      <pc:chgData name="Поворозник Ирина" userId="S::ivpovoroznik@severstal.severstalgroup.com::e6d1d7e0-6394-4b4f-95fb-523040259efb" providerId="AD" clId="Web-{17BBF3F1-FD8F-4DA5-BDC1-F423311FB57E}" dt="2021-03-31T09:34:12.441" v="130" actId="20577"/>
      <pc:docMkLst>
        <pc:docMk/>
      </pc:docMkLst>
      <pc:sldChg chg="modSp ord">
        <pc:chgData name="Поворозник Ирина" userId="S::ivpovoroznik@severstal.severstalgroup.com::e6d1d7e0-6394-4b4f-95fb-523040259efb" providerId="AD" clId="Web-{17BBF3F1-FD8F-4DA5-BDC1-F423311FB57E}" dt="2021-03-31T09:33:19.706" v="109"/>
        <pc:sldMkLst>
          <pc:docMk/>
          <pc:sldMk cId="1698061955" sldId="5574"/>
        </pc:sldMkLst>
        <pc:spChg chg="mod">
          <ac:chgData name="Поворозник Ирина" userId="S::ivpovoroznik@severstal.severstalgroup.com::e6d1d7e0-6394-4b4f-95fb-523040259efb" providerId="AD" clId="Web-{17BBF3F1-FD8F-4DA5-BDC1-F423311FB57E}" dt="2021-03-31T09:31:06.157" v="82" actId="20577"/>
          <ac:spMkLst>
            <pc:docMk/>
            <pc:sldMk cId="1698061955" sldId="5574"/>
            <ac:spMk id="3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7BBF3F1-FD8F-4DA5-BDC1-F423311FB57E}" dt="2021-03-31T09:30:54.735" v="66" actId="1076"/>
          <ac:spMkLst>
            <pc:docMk/>
            <pc:sldMk cId="1698061955" sldId="5574"/>
            <ac:spMk id="4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7BBF3F1-FD8F-4DA5-BDC1-F423311FB57E}" dt="2021-03-31T09:33:19.706" v="109"/>
          <ac:spMkLst>
            <pc:docMk/>
            <pc:sldMk cId="1698061955" sldId="5574"/>
            <ac:spMk id="7" creationId="{00000000-0000-0000-0000-000000000000}"/>
          </ac:spMkLst>
        </pc:spChg>
        <pc:graphicFrameChg chg="mod modGraphic">
          <ac:chgData name="Поворозник Ирина" userId="S::ivpovoroznik@severstal.severstalgroup.com::e6d1d7e0-6394-4b4f-95fb-523040259efb" providerId="AD" clId="Web-{17BBF3F1-FD8F-4DA5-BDC1-F423311FB57E}" dt="2021-03-31T09:30:43.782" v="65"/>
          <ac:graphicFrameMkLst>
            <pc:docMk/>
            <pc:sldMk cId="1698061955" sldId="5574"/>
            <ac:graphicFrameMk id="6" creationId="{00000000-0000-0000-0000-000000000000}"/>
          </ac:graphicFrameMkLst>
        </pc:graphicFrameChg>
      </pc:sldChg>
      <pc:sldChg chg="modSp ord">
        <pc:chgData name="Поворозник Ирина" userId="S::ivpovoroznik@severstal.severstalgroup.com::e6d1d7e0-6394-4b4f-95fb-523040259efb" providerId="AD" clId="Web-{17BBF3F1-FD8F-4DA5-BDC1-F423311FB57E}" dt="2021-03-31T09:34:12.441" v="130" actId="20577"/>
        <pc:sldMkLst>
          <pc:docMk/>
          <pc:sldMk cId="3763728108" sldId="5576"/>
        </pc:sldMkLst>
        <pc:spChg chg="mod">
          <ac:chgData name="Поворозник Ирина" userId="S::ivpovoroznik@severstal.severstalgroup.com::e6d1d7e0-6394-4b4f-95fb-523040259efb" providerId="AD" clId="Web-{17BBF3F1-FD8F-4DA5-BDC1-F423311FB57E}" dt="2021-03-31T09:34:12.441" v="130" actId="20577"/>
          <ac:spMkLst>
            <pc:docMk/>
            <pc:sldMk cId="3763728108" sldId="5576"/>
            <ac:spMk id="5" creationId="{00000000-0000-0000-0000-000000000000}"/>
          </ac:spMkLst>
        </pc:spChg>
      </pc:sldChg>
      <pc:sldChg chg="modSp">
        <pc:chgData name="Поворозник Ирина" userId="S::ivpovoroznik@severstal.severstalgroup.com::e6d1d7e0-6394-4b4f-95fb-523040259efb" providerId="AD" clId="Web-{17BBF3F1-FD8F-4DA5-BDC1-F423311FB57E}" dt="2021-03-31T09:26:20.325" v="5" actId="20577"/>
        <pc:sldMkLst>
          <pc:docMk/>
          <pc:sldMk cId="1822900232" sldId="5589"/>
        </pc:sldMkLst>
        <pc:spChg chg="mod">
          <ac:chgData name="Поворозник Ирина" userId="S::ivpovoroznik@severstal.severstalgroup.com::e6d1d7e0-6394-4b4f-95fb-523040259efb" providerId="AD" clId="Web-{17BBF3F1-FD8F-4DA5-BDC1-F423311FB57E}" dt="2021-03-31T09:26:20.325" v="5" actId="20577"/>
          <ac:spMkLst>
            <pc:docMk/>
            <pc:sldMk cId="1822900232" sldId="5589"/>
            <ac:spMk id="24" creationId="{CDB17153-7092-4F74-ACBD-2C6268A2DACF}"/>
          </ac:spMkLst>
        </pc:spChg>
      </pc:sldChg>
    </pc:docChg>
  </pc:docChgLst>
  <pc:docChgLst>
    <pc:chgData name="Поворозник Ирина" userId="S::ivpovoroznik@severstal.severstalgroup.com::e6d1d7e0-6394-4b4f-95fb-523040259efb" providerId="AD" clId="Web-{A8660FA3-EFB2-4522-8A2B-7D1802D582C1}"/>
    <pc:docChg chg="modSld">
      <pc:chgData name="Поворозник Ирина" userId="S::ivpovoroznik@severstal.severstalgroup.com::e6d1d7e0-6394-4b4f-95fb-523040259efb" providerId="AD" clId="Web-{A8660FA3-EFB2-4522-8A2B-7D1802D582C1}" dt="2021-07-29T19:51:16.663" v="7" actId="20577"/>
      <pc:docMkLst>
        <pc:docMk/>
      </pc:docMkLst>
      <pc:sldChg chg="modSp">
        <pc:chgData name="Поворозник Ирина" userId="S::ivpovoroznik@severstal.severstalgroup.com::e6d1d7e0-6394-4b4f-95fb-523040259efb" providerId="AD" clId="Web-{A8660FA3-EFB2-4522-8A2B-7D1802D582C1}" dt="2021-07-29T19:51:16.663" v="7" actId="20577"/>
        <pc:sldMkLst>
          <pc:docMk/>
          <pc:sldMk cId="1332764103" sldId="5530"/>
        </pc:sldMkLst>
        <pc:spChg chg="mod">
          <ac:chgData name="Поворозник Ирина" userId="S::ivpovoroznik@severstal.severstalgroup.com::e6d1d7e0-6394-4b4f-95fb-523040259efb" providerId="AD" clId="Web-{A8660FA3-EFB2-4522-8A2B-7D1802D582C1}" dt="2021-07-29T19:51:16.663" v="7" actId="20577"/>
          <ac:spMkLst>
            <pc:docMk/>
            <pc:sldMk cId="1332764103" sldId="5530"/>
            <ac:spMk id="2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A8660FA3-EFB2-4522-8A2B-7D1802D582C1}" dt="2021-07-29T19:51:02.678" v="3" actId="20577"/>
          <ac:spMkLst>
            <pc:docMk/>
            <pc:sldMk cId="1332764103" sldId="5530"/>
            <ac:spMk id="16" creationId="{EC7ED874-08F2-469F-A0DC-9522428369E7}"/>
          </ac:spMkLst>
        </pc:spChg>
      </pc:sldChg>
    </pc:docChg>
  </pc:docChgLst>
  <pc:docChgLst>
    <pc:chgData name="Поворозник Ирина" userId="S::ivpovoroznik@severstal.severstalgroup.com::e6d1d7e0-6394-4b4f-95fb-523040259efb" providerId="AD" clId="Web-{B4F4C91F-7C6D-46ED-9AB8-D10AEFC65F6F}"/>
    <pc:docChg chg="modSld">
      <pc:chgData name="Поворозник Ирина" userId="S::ivpovoroznik@severstal.severstalgroup.com::e6d1d7e0-6394-4b4f-95fb-523040259efb" providerId="AD" clId="Web-{B4F4C91F-7C6D-46ED-9AB8-D10AEFC65F6F}" dt="2021-03-19T14:01:20.893" v="2" actId="1076"/>
      <pc:docMkLst>
        <pc:docMk/>
      </pc:docMkLst>
      <pc:sldChg chg="modSp">
        <pc:chgData name="Поворозник Ирина" userId="S::ivpovoroznik@severstal.severstalgroup.com::e6d1d7e0-6394-4b4f-95fb-523040259efb" providerId="AD" clId="Web-{B4F4C91F-7C6D-46ED-9AB8-D10AEFC65F6F}" dt="2021-03-19T14:01:20.893" v="2" actId="1076"/>
        <pc:sldMkLst>
          <pc:docMk/>
          <pc:sldMk cId="2900861790" sldId="5536"/>
        </pc:sldMkLst>
        <pc:spChg chg="mod">
          <ac:chgData name="Поворозник Ирина" userId="S::ivpovoroznik@severstal.severstalgroup.com::e6d1d7e0-6394-4b4f-95fb-523040259efb" providerId="AD" clId="Web-{B4F4C91F-7C6D-46ED-9AB8-D10AEFC65F6F}" dt="2021-03-19T14:01:20.893" v="2" actId="1076"/>
          <ac:spMkLst>
            <pc:docMk/>
            <pc:sldMk cId="2900861790" sldId="5536"/>
            <ac:spMk id="4" creationId="{7B2CC9C3-C28C-4A9C-811F-BE1499B48403}"/>
          </ac:spMkLst>
        </pc:spChg>
      </pc:sldChg>
    </pc:docChg>
  </pc:docChgLst>
  <pc:docChgLst>
    <pc:chgData name="Панова Ольга Вадимовна" userId="S::ov.panova@severstal.severstalgroup.com::e2a5038f-f7d0-41f6-b7a6-f761fb23027e" providerId="AD" clId="Web-{AE7D19BA-DF42-4FC3-B418-E5245C39F135}"/>
    <pc:docChg chg="sldOrd">
      <pc:chgData name="Панова Ольга Вадимовна" userId="S::ov.panova@severstal.severstalgroup.com::e2a5038f-f7d0-41f6-b7a6-f761fb23027e" providerId="AD" clId="Web-{AE7D19BA-DF42-4FC3-B418-E5245C39F135}" dt="2021-02-19T20:02:27.809" v="0"/>
      <pc:docMkLst>
        <pc:docMk/>
      </pc:docMkLst>
      <pc:sldChg chg="ord">
        <pc:chgData name="Панова Ольга Вадимовна" userId="S::ov.panova@severstal.severstalgroup.com::e2a5038f-f7d0-41f6-b7a6-f761fb23027e" providerId="AD" clId="Web-{AE7D19BA-DF42-4FC3-B418-E5245C39F135}" dt="2021-02-19T20:02:27.809" v="0"/>
        <pc:sldMkLst>
          <pc:docMk/>
          <pc:sldMk cId="670580040" sldId="5567"/>
        </pc:sldMkLst>
      </pc:sldChg>
    </pc:docChg>
  </pc:docChgLst>
  <pc:docChgLst>
    <pc:chgData name="Поворозник Ирина" userId="S::ivpovoroznik@severstal.severstalgroup.com::e6d1d7e0-6394-4b4f-95fb-523040259efb" providerId="AD" clId="Web-{1553CA9D-259B-45E5-97C6-F6AC00C5931A}"/>
    <pc:docChg chg="addSld modSld sldOrd modSection">
      <pc:chgData name="Поворозник Ирина" userId="S::ivpovoroznik@severstal.severstalgroup.com::e6d1d7e0-6394-4b4f-95fb-523040259efb" providerId="AD" clId="Web-{1553CA9D-259B-45E5-97C6-F6AC00C5931A}" dt="2021-03-31T08:19:25.108" v="1025"/>
      <pc:docMkLst>
        <pc:docMk/>
      </pc:docMkLst>
      <pc:sldChg chg="addSp modSp modNotes">
        <pc:chgData name="Поворозник Ирина" userId="S::ivpovoroznik@severstal.severstalgroup.com::e6d1d7e0-6394-4b4f-95fb-523040259efb" providerId="AD" clId="Web-{1553CA9D-259B-45E5-97C6-F6AC00C5931A}" dt="2021-03-31T07:50:11.202" v="17" actId="14100"/>
        <pc:sldMkLst>
          <pc:docMk/>
          <pc:sldMk cId="2900861790" sldId="5536"/>
        </pc:sldMkLst>
        <pc:spChg chg="mod">
          <ac:chgData name="Поворозник Ирина" userId="S::ivpovoroznik@severstal.severstalgroup.com::e6d1d7e0-6394-4b4f-95fb-523040259efb" providerId="AD" clId="Web-{1553CA9D-259B-45E5-97C6-F6AC00C5931A}" dt="2021-03-31T07:50:11.202" v="17" actId="14100"/>
          <ac:spMkLst>
            <pc:docMk/>
            <pc:sldMk cId="2900861790" sldId="5536"/>
            <ac:spMk id="4" creationId="{7B2CC9C3-C28C-4A9C-811F-BE1499B48403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7:50:00.639" v="15"/>
          <ac:spMkLst>
            <pc:docMk/>
            <pc:sldMk cId="2900861790" sldId="5536"/>
            <ac:spMk id="18" creationId="{C7271A4C-29D6-4AEC-BE2F-F15E6C00FE74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7:49:11.529" v="6" actId="1076"/>
          <ac:spMkLst>
            <pc:docMk/>
            <pc:sldMk cId="2900861790" sldId="5536"/>
            <ac:spMk id="41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7:49:56.124" v="13"/>
          <ac:spMkLst>
            <pc:docMk/>
            <pc:sldMk cId="2900861790" sldId="5536"/>
            <ac:spMk id="44" creationId="{C7271A4C-29D6-4AEC-BE2F-F15E6C00FE74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7:50:06.655" v="16" actId="14100"/>
          <ac:spMkLst>
            <pc:docMk/>
            <pc:sldMk cId="2900861790" sldId="5536"/>
            <ac:spMk id="46" creationId="{C7271A4C-29D6-4AEC-BE2F-F15E6C00FE74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7:49:23.857" v="7" actId="1076"/>
          <ac:spMkLst>
            <pc:docMk/>
            <pc:sldMk cId="2900861790" sldId="5536"/>
            <ac:spMk id="49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7:49:49.045" v="11"/>
          <ac:spMkLst>
            <pc:docMk/>
            <pc:sldMk cId="2900861790" sldId="5536"/>
            <ac:spMk id="50" creationId="{C7271A4C-29D6-4AEC-BE2F-F15E6C00FE74}"/>
          </ac:spMkLst>
        </pc:spChg>
        <pc:picChg chg="add mod">
          <ac:chgData name="Поворозник Ирина" userId="S::ivpovoroznik@severstal.severstalgroup.com::e6d1d7e0-6394-4b4f-95fb-523040259efb" providerId="AD" clId="Web-{1553CA9D-259B-45E5-97C6-F6AC00C5931A}" dt="2021-03-31T07:48:57.482" v="5" actId="1076"/>
          <ac:picMkLst>
            <pc:docMk/>
            <pc:sldMk cId="2900861790" sldId="5536"/>
            <ac:picMk id="32" creationId="{2A14019F-8233-4E66-9D14-1035F0A8E609}"/>
          </ac:picMkLst>
        </pc:picChg>
      </pc:sldChg>
      <pc:sldChg chg="modNotes">
        <pc:chgData name="Поворозник Ирина" userId="S::ivpovoroznik@severstal.severstalgroup.com::e6d1d7e0-6394-4b4f-95fb-523040259efb" providerId="AD" clId="Web-{1553CA9D-259B-45E5-97C6-F6AC00C5931A}" dt="2021-03-31T08:18:17.560" v="909"/>
        <pc:sldMkLst>
          <pc:docMk/>
          <pc:sldMk cId="132398243" sldId="5541"/>
        </pc:sldMkLst>
      </pc:sldChg>
      <pc:sldChg chg="modSp modNotes">
        <pc:chgData name="Поворозник Ирина" userId="S::ivpovoroznik@severstal.severstalgroup.com::e6d1d7e0-6394-4b4f-95fb-523040259efb" providerId="AD" clId="Web-{1553CA9D-259B-45E5-97C6-F6AC00C5931A}" dt="2021-03-31T08:18:27.482" v="921"/>
        <pc:sldMkLst>
          <pc:docMk/>
          <pc:sldMk cId="1853405394" sldId="5542"/>
        </pc:sldMkLst>
        <pc:spChg chg="mod">
          <ac:chgData name="Поворозник Ирина" userId="S::ivpovoroznik@severstal.severstalgroup.com::e6d1d7e0-6394-4b4f-95fb-523040259efb" providerId="AD" clId="Web-{1553CA9D-259B-45E5-97C6-F6AC00C5931A}" dt="2021-03-31T07:53:51.690" v="189" actId="1076"/>
          <ac:spMkLst>
            <pc:docMk/>
            <pc:sldMk cId="1853405394" sldId="5542"/>
            <ac:spMk id="78" creationId="{00000000-0000-0000-0000-000000000000}"/>
          </ac:spMkLst>
        </pc:spChg>
      </pc:sldChg>
      <pc:sldChg chg="addSp delSp modSp modNotes">
        <pc:chgData name="Поворозник Ирина" userId="S::ivpovoroznik@severstal.severstalgroup.com::e6d1d7e0-6394-4b4f-95fb-523040259efb" providerId="AD" clId="Web-{1553CA9D-259B-45E5-97C6-F6AC00C5931A}" dt="2021-03-31T08:14:54.822" v="905"/>
        <pc:sldMkLst>
          <pc:docMk/>
          <pc:sldMk cId="3215713177" sldId="5558"/>
        </pc:sldMkLst>
        <pc:spChg chg="add del">
          <ac:chgData name="Поворозник Ирина" userId="S::ivpovoroznik@severstal.severstalgroup.com::e6d1d7e0-6394-4b4f-95fb-523040259efb" providerId="AD" clId="Web-{1553CA9D-259B-45E5-97C6-F6AC00C5931A}" dt="2021-03-31T08:03:27.966" v="535"/>
          <ac:spMkLst>
            <pc:docMk/>
            <pc:sldMk cId="3215713177" sldId="5558"/>
            <ac:spMk id="2" creationId="{BBBA368F-3393-4B20-B991-EA31E0CD492B}"/>
          </ac:spMkLst>
        </pc:spChg>
        <pc:spChg chg="add mod">
          <ac:chgData name="Поворозник Ирина" userId="S::ivpovoroznik@severstal.severstalgroup.com::e6d1d7e0-6394-4b4f-95fb-523040259efb" providerId="AD" clId="Web-{1553CA9D-259B-45E5-97C6-F6AC00C5931A}" dt="2021-03-31T08:14:30.603" v="876" actId="20577"/>
          <ac:spMkLst>
            <pc:docMk/>
            <pc:sldMk cId="3215713177" sldId="5558"/>
            <ac:spMk id="4" creationId="{5DF340EE-5822-46A9-AAFC-B7B0FD07C9F7}"/>
          </ac:spMkLst>
        </pc:spChg>
        <pc:spChg chg="add mod">
          <ac:chgData name="Поворозник Ирина" userId="S::ivpovoroznik@severstal.severstalgroup.com::e6d1d7e0-6394-4b4f-95fb-523040259efb" providerId="AD" clId="Web-{1553CA9D-259B-45E5-97C6-F6AC00C5931A}" dt="2021-03-31T08:13:40.727" v="856" actId="20577"/>
          <ac:spMkLst>
            <pc:docMk/>
            <pc:sldMk cId="3215713177" sldId="5558"/>
            <ac:spMk id="5" creationId="{8AD9EF79-9F09-4121-95B3-E8152851589E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8:08:07.284" v="656" actId="1076"/>
          <ac:spMkLst>
            <pc:docMk/>
            <pc:sldMk cId="3215713177" sldId="5558"/>
            <ac:spMk id="28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8:08:32.190" v="657" actId="1076"/>
          <ac:spMkLst>
            <pc:docMk/>
            <pc:sldMk cId="3215713177" sldId="5558"/>
            <ac:spMk id="47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8:13:26.727" v="827" actId="20577"/>
          <ac:spMkLst>
            <pc:docMk/>
            <pc:sldMk cId="3215713177" sldId="5558"/>
            <ac:spMk id="52" creationId="{00000000-0000-0000-0000-000000000000}"/>
          </ac:spMkLst>
        </pc:spChg>
      </pc:sldChg>
      <pc:sldChg chg="addSp delSp modSp">
        <pc:chgData name="Поворозник Ирина" userId="S::ivpovoroznik@severstal.severstalgroup.com::e6d1d7e0-6394-4b4f-95fb-523040259efb" providerId="AD" clId="Web-{1553CA9D-259B-45E5-97C6-F6AC00C5931A}" dt="2021-03-31T08:10:38.364" v="735" actId="20577"/>
        <pc:sldMkLst>
          <pc:docMk/>
          <pc:sldMk cId="733539009" sldId="5559"/>
        </pc:sldMkLst>
        <pc:spChg chg="add mod">
          <ac:chgData name="Поворозник Ирина" userId="S::ivpovoroznik@severstal.severstalgroup.com::e6d1d7e0-6394-4b4f-95fb-523040259efb" providerId="AD" clId="Web-{1553CA9D-259B-45E5-97C6-F6AC00C5931A}" dt="2021-03-31T08:10:38.364" v="735" actId="20577"/>
          <ac:spMkLst>
            <pc:docMk/>
            <pc:sldMk cId="733539009" sldId="5559"/>
            <ac:spMk id="3" creationId="{BD4C804B-CE3F-477E-9A23-26000FC3DC00}"/>
          </ac:spMkLst>
        </pc:spChg>
        <pc:spChg chg="del">
          <ac:chgData name="Поворозник Ирина" userId="S::ivpovoroznik@severstal.severstalgroup.com::e6d1d7e0-6394-4b4f-95fb-523040259efb" providerId="AD" clId="Web-{1553CA9D-259B-45E5-97C6-F6AC00C5931A}" dt="2021-03-31T08:01:46.777" v="452"/>
          <ac:spMkLst>
            <pc:docMk/>
            <pc:sldMk cId="733539009" sldId="5559"/>
            <ac:spMk id="47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8:05:15.531" v="599" actId="20577"/>
          <ac:spMkLst>
            <pc:docMk/>
            <pc:sldMk cId="733539009" sldId="5559"/>
            <ac:spMk id="4099" creationId="{00000000-0000-0000-0000-000000000000}"/>
          </ac:spMkLst>
        </pc:spChg>
      </pc:sldChg>
      <pc:sldChg chg="addSp modSp ord">
        <pc:chgData name="Поворозник Ирина" userId="S::ivpovoroznik@severstal.severstalgroup.com::e6d1d7e0-6394-4b4f-95fb-523040259efb" providerId="AD" clId="Web-{1553CA9D-259B-45E5-97C6-F6AC00C5931A}" dt="2021-03-31T08:12:30.101" v="788" actId="20577"/>
        <pc:sldMkLst>
          <pc:docMk/>
          <pc:sldMk cId="3726780581" sldId="5560"/>
        </pc:sldMkLst>
        <pc:spChg chg="add mod">
          <ac:chgData name="Поворозник Ирина" userId="S::ivpovoroznik@severstal.severstalgroup.com::e6d1d7e0-6394-4b4f-95fb-523040259efb" providerId="AD" clId="Web-{1553CA9D-259B-45E5-97C6-F6AC00C5931A}" dt="2021-03-31T08:12:30.101" v="788" actId="20577"/>
          <ac:spMkLst>
            <pc:docMk/>
            <pc:sldMk cId="3726780581" sldId="5560"/>
            <ac:spMk id="6" creationId="{13A2AE52-BB34-4750-A527-82B88993131B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8:11:36.928" v="746" actId="20577"/>
          <ac:spMkLst>
            <pc:docMk/>
            <pc:sldMk cId="3726780581" sldId="5560"/>
            <ac:spMk id="60" creationId="{00000000-0000-0000-0000-000000000000}"/>
          </ac:spMkLst>
        </pc:spChg>
        <pc:spChg chg="add mod">
          <ac:chgData name="Поворозник Ирина" userId="S::ivpovoroznik@severstal.severstalgroup.com::e6d1d7e0-6394-4b4f-95fb-523040259efb" providerId="AD" clId="Web-{1553CA9D-259B-45E5-97C6-F6AC00C5931A}" dt="2021-03-31T08:12:26.788" v="786" actId="20577"/>
          <ac:spMkLst>
            <pc:docMk/>
            <pc:sldMk cId="3726780581" sldId="5560"/>
            <ac:spMk id="71" creationId="{D443A25F-5D38-4310-A319-85DB3A4117A7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8:05:21.187" v="600" actId="20577"/>
          <ac:spMkLst>
            <pc:docMk/>
            <pc:sldMk cId="3726780581" sldId="5560"/>
            <ac:spMk id="4099" creationId="{00000000-0000-0000-0000-000000000000}"/>
          </ac:spMkLst>
        </pc:spChg>
      </pc:sldChg>
      <pc:sldChg chg="modSp mod modShow">
        <pc:chgData name="Поворозник Ирина" userId="S::ivpovoroznik@severstal.severstalgroup.com::e6d1d7e0-6394-4b4f-95fb-523040259efb" providerId="AD" clId="Web-{1553CA9D-259B-45E5-97C6-F6AC00C5931A}" dt="2021-03-31T08:09:43.301" v="707"/>
        <pc:sldMkLst>
          <pc:docMk/>
          <pc:sldMk cId="3103079268" sldId="5561"/>
        </pc:sldMkLst>
        <pc:spChg chg="mod">
          <ac:chgData name="Поворозник Ирина" userId="S::ivpovoroznik@severstal.severstalgroup.com::e6d1d7e0-6394-4b4f-95fb-523040259efb" providerId="AD" clId="Web-{1553CA9D-259B-45E5-97C6-F6AC00C5931A}" dt="2021-03-31T08:06:39.016" v="654" actId="14100"/>
          <ac:spMkLst>
            <pc:docMk/>
            <pc:sldMk cId="3103079268" sldId="5561"/>
            <ac:spMk id="52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8:09:43.129" v="703"/>
          <ac:spMkLst>
            <pc:docMk/>
            <pc:sldMk cId="3103079268" sldId="5561"/>
            <ac:spMk id="75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8:09:43.176" v="704"/>
          <ac:spMkLst>
            <pc:docMk/>
            <pc:sldMk cId="3103079268" sldId="5561"/>
            <ac:spMk id="76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8:09:43.207" v="705"/>
          <ac:spMkLst>
            <pc:docMk/>
            <pc:sldMk cId="3103079268" sldId="5561"/>
            <ac:spMk id="77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8:09:43.254" v="706"/>
          <ac:spMkLst>
            <pc:docMk/>
            <pc:sldMk cId="3103079268" sldId="5561"/>
            <ac:spMk id="78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8:09:43.301" v="707"/>
          <ac:spMkLst>
            <pc:docMk/>
            <pc:sldMk cId="3103079268" sldId="5561"/>
            <ac:spMk id="80" creationId="{00000000-0000-0000-0000-000000000000}"/>
          </ac:spMkLst>
        </pc:spChg>
      </pc:sldChg>
      <pc:sldChg chg="modSp">
        <pc:chgData name="Поворозник Ирина" userId="S::ivpovoroznik@severstal.severstalgroup.com::e6d1d7e0-6394-4b4f-95fb-523040259efb" providerId="AD" clId="Web-{1553CA9D-259B-45E5-97C6-F6AC00C5931A}" dt="2021-03-31T08:15:38.526" v="906" actId="1076"/>
        <pc:sldMkLst>
          <pc:docMk/>
          <pc:sldMk cId="3088155093" sldId="5569"/>
        </pc:sldMkLst>
        <pc:spChg chg="mod">
          <ac:chgData name="Поворозник Ирина" userId="S::ivpovoroznik@severstal.severstalgroup.com::e6d1d7e0-6394-4b4f-95fb-523040259efb" providerId="AD" clId="Web-{1553CA9D-259B-45E5-97C6-F6AC00C5931A}" dt="2021-03-31T08:15:38.526" v="906" actId="1076"/>
          <ac:spMkLst>
            <pc:docMk/>
            <pc:sldMk cId="3088155093" sldId="5569"/>
            <ac:spMk id="24" creationId="{CDB17153-7092-4F74-ACBD-2C6268A2DACF}"/>
          </ac:spMkLst>
        </pc:spChg>
      </pc:sldChg>
      <pc:sldChg chg="modSp">
        <pc:chgData name="Поворозник Ирина" userId="S::ivpovoroznik@severstal.severstalgroup.com::e6d1d7e0-6394-4b4f-95fb-523040259efb" providerId="AD" clId="Web-{1553CA9D-259B-45E5-97C6-F6AC00C5931A}" dt="2021-03-31T08:19:25.108" v="1025"/>
        <pc:sldMkLst>
          <pc:docMk/>
          <pc:sldMk cId="1698061955" sldId="5574"/>
        </pc:sldMkLst>
        <pc:graphicFrameChg chg="mod modGraphic">
          <ac:chgData name="Поворозник Ирина" userId="S::ivpovoroznik@severstal.severstalgroup.com::e6d1d7e0-6394-4b4f-95fb-523040259efb" providerId="AD" clId="Web-{1553CA9D-259B-45E5-97C6-F6AC00C5931A}" dt="2021-03-31T08:19:25.108" v="1025"/>
          <ac:graphicFrameMkLst>
            <pc:docMk/>
            <pc:sldMk cId="1698061955" sldId="5574"/>
            <ac:graphicFrameMk id="6" creationId="{00000000-0000-0000-0000-000000000000}"/>
          </ac:graphicFrameMkLst>
        </pc:graphicFrameChg>
      </pc:sldChg>
      <pc:sldChg chg="delSp modSp">
        <pc:chgData name="Поворозник Ирина" userId="S::ivpovoroznik@severstal.severstalgroup.com::e6d1d7e0-6394-4b4f-95fb-523040259efb" providerId="AD" clId="Web-{1553CA9D-259B-45E5-97C6-F6AC00C5931A}" dt="2021-03-31T07:59:33.462" v="370"/>
        <pc:sldMkLst>
          <pc:docMk/>
          <pc:sldMk cId="3627369715" sldId="5577"/>
        </pc:sldMkLst>
        <pc:spChg chg="del">
          <ac:chgData name="Поворозник Ирина" userId="S::ivpovoroznik@severstal.severstalgroup.com::e6d1d7e0-6394-4b4f-95fb-523040259efb" providerId="AD" clId="Web-{1553CA9D-259B-45E5-97C6-F6AC00C5931A}" dt="2021-03-31T07:59:33.462" v="370"/>
          <ac:spMkLst>
            <pc:docMk/>
            <pc:sldMk cId="3627369715" sldId="5577"/>
            <ac:spMk id="4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7:58:48.571" v="305" actId="20577"/>
          <ac:spMkLst>
            <pc:docMk/>
            <pc:sldMk cId="3627369715" sldId="5577"/>
            <ac:spMk id="7" creationId="{00000000-0000-0000-0000-000000000000}"/>
          </ac:spMkLst>
        </pc:spChg>
        <pc:spChg chg="mod">
          <ac:chgData name="Поворозник Ирина" userId="S::ivpovoroznik@severstal.severstalgroup.com::e6d1d7e0-6394-4b4f-95fb-523040259efb" providerId="AD" clId="Web-{1553CA9D-259B-45E5-97C6-F6AC00C5931A}" dt="2021-03-31T07:59:28.446" v="369" actId="20577"/>
          <ac:spMkLst>
            <pc:docMk/>
            <pc:sldMk cId="3627369715" sldId="5577"/>
            <ac:spMk id="8" creationId="{00000000-0000-0000-0000-000000000000}"/>
          </ac:spMkLst>
        </pc:spChg>
      </pc:sldChg>
      <pc:sldChg chg="delSp">
        <pc:chgData name="Поворозник Ирина" userId="S::ivpovoroznik@severstal.severstalgroup.com::e6d1d7e0-6394-4b4f-95fb-523040259efb" providerId="AD" clId="Web-{1553CA9D-259B-45E5-97C6-F6AC00C5931A}" dt="2021-03-31T07:59:37.946" v="371"/>
        <pc:sldMkLst>
          <pc:docMk/>
          <pc:sldMk cId="781969501" sldId="5578"/>
        </pc:sldMkLst>
        <pc:spChg chg="del">
          <ac:chgData name="Поворозник Ирина" userId="S::ivpovoroznik@severstal.severstalgroup.com::e6d1d7e0-6394-4b4f-95fb-523040259efb" providerId="AD" clId="Web-{1553CA9D-259B-45E5-97C6-F6AC00C5931A}" dt="2021-03-31T07:59:37.946" v="371"/>
          <ac:spMkLst>
            <pc:docMk/>
            <pc:sldMk cId="781969501" sldId="5578"/>
            <ac:spMk id="4" creationId="{00000000-0000-0000-0000-000000000000}"/>
          </ac:spMkLst>
        </pc:spChg>
      </pc:sldChg>
      <pc:sldChg chg="addSp delSp modSp modNotes">
        <pc:chgData name="Поворозник Ирина" userId="S::ivpovoroznik@severstal.severstalgroup.com::e6d1d7e0-6394-4b4f-95fb-523040259efb" providerId="AD" clId="Web-{1553CA9D-259B-45E5-97C6-F6AC00C5931A}" dt="2021-03-31T07:58:06.226" v="288"/>
        <pc:sldMkLst>
          <pc:docMk/>
          <pc:sldMk cId="3664013572" sldId="5586"/>
        </pc:sldMkLst>
        <pc:spChg chg="mod">
          <ac:chgData name="Поворозник Ирина" userId="S::ivpovoroznik@severstal.severstalgroup.com::e6d1d7e0-6394-4b4f-95fb-523040259efb" providerId="AD" clId="Web-{1553CA9D-259B-45E5-97C6-F6AC00C5931A}" dt="2021-03-31T07:50:44.718" v="19" actId="14100"/>
          <ac:spMkLst>
            <pc:docMk/>
            <pc:sldMk cId="3664013572" sldId="5586"/>
            <ac:spMk id="22" creationId="{00000000-0000-0000-0000-000000000000}"/>
          </ac:spMkLst>
        </pc:spChg>
        <pc:picChg chg="add del mod">
          <ac:chgData name="Поворозник Ирина" userId="S::ivpovoroznik@severstal.severstalgroup.com::e6d1d7e0-6394-4b4f-95fb-523040259efb" providerId="AD" clId="Web-{1553CA9D-259B-45E5-97C6-F6AC00C5931A}" dt="2021-03-31T07:51:07.437" v="34"/>
          <ac:picMkLst>
            <pc:docMk/>
            <pc:sldMk cId="3664013572" sldId="5586"/>
            <ac:picMk id="3" creationId="{D18B5906-D54E-4033-9288-6589A9C370D1}"/>
          </ac:picMkLst>
        </pc:picChg>
      </pc:sldChg>
      <pc:sldChg chg="addSp delSp modSp new ord modNotes">
        <pc:chgData name="Поворозник Ирина" userId="S::ivpovoroznik@severstal.severstalgroup.com::e6d1d7e0-6394-4b4f-95fb-523040259efb" providerId="AD" clId="Web-{1553CA9D-259B-45E5-97C6-F6AC00C5931A}" dt="2021-03-31T08:02:31.996" v="525" actId="20577"/>
        <pc:sldMkLst>
          <pc:docMk/>
          <pc:sldMk cId="2800981162" sldId="5587"/>
        </pc:sldMkLst>
        <pc:spChg chg="mod">
          <ac:chgData name="Поворозник Ирина" userId="S::ivpovoroznik@severstal.severstalgroup.com::e6d1d7e0-6394-4b4f-95fb-523040259efb" providerId="AD" clId="Web-{1553CA9D-259B-45E5-97C6-F6AC00C5931A}" dt="2021-03-31T08:02:31.996" v="525" actId="20577"/>
          <ac:spMkLst>
            <pc:docMk/>
            <pc:sldMk cId="2800981162" sldId="5587"/>
            <ac:spMk id="2" creationId="{DBB4154F-D778-4DE5-A126-441A23461A43}"/>
          </ac:spMkLst>
        </pc:spChg>
        <pc:spChg chg="del">
          <ac:chgData name="Поворозник Ирина" userId="S::ivpovoroznik@severstal.severstalgroup.com::e6d1d7e0-6394-4b4f-95fb-523040259efb" providerId="AD" clId="Web-{1553CA9D-259B-45E5-97C6-F6AC00C5931A}" dt="2021-03-31T08:01:51.746" v="453"/>
          <ac:spMkLst>
            <pc:docMk/>
            <pc:sldMk cId="2800981162" sldId="5587"/>
            <ac:spMk id="3" creationId="{3F9EFFB6-3025-4754-B082-047CA4CE6168}"/>
          </ac:spMkLst>
        </pc:spChg>
        <pc:spChg chg="add mod">
          <ac:chgData name="Поворозник Ирина" userId="S::ivpovoroznik@severstal.severstalgroup.com::e6d1d7e0-6394-4b4f-95fb-523040259efb" providerId="AD" clId="Web-{1553CA9D-259B-45E5-97C6-F6AC00C5931A}" dt="2021-03-31T08:01:56.855" v="455" actId="14100"/>
          <ac:spMkLst>
            <pc:docMk/>
            <pc:sldMk cId="2800981162" sldId="5587"/>
            <ac:spMk id="6" creationId="{2AC3B1B5-52B6-45FE-B01A-D172A9DB48E7}"/>
          </ac:spMkLst>
        </pc:spChg>
      </pc:sldChg>
    </pc:docChg>
  </pc:docChgLst>
  <pc:docChgLst>
    <pc:chgData name="Поворозник Ирина" userId="S::ivpovoroznik@severstal.severstalgroup.com::e6d1d7e0-6394-4b4f-95fb-523040259efb" providerId="AD" clId="Web-{28ED21B2-ABD4-420F-A0C6-8B9503689DF8}"/>
    <pc:docChg chg="modSld">
      <pc:chgData name="Поворозник Ирина" userId="S::ivpovoroznik@severstal.severstalgroup.com::e6d1d7e0-6394-4b4f-95fb-523040259efb" providerId="AD" clId="Web-{28ED21B2-ABD4-420F-A0C6-8B9503689DF8}" dt="2021-03-19T14:00:55.964" v="0" actId="1076"/>
      <pc:docMkLst>
        <pc:docMk/>
      </pc:docMkLst>
      <pc:sldChg chg="modSp">
        <pc:chgData name="Поворозник Ирина" userId="S::ivpovoroznik@severstal.severstalgroup.com::e6d1d7e0-6394-4b4f-95fb-523040259efb" providerId="AD" clId="Web-{28ED21B2-ABD4-420F-A0C6-8B9503689DF8}" dt="2021-03-19T14:00:55.964" v="0" actId="1076"/>
        <pc:sldMkLst>
          <pc:docMk/>
          <pc:sldMk cId="2900861790" sldId="5536"/>
        </pc:sldMkLst>
        <pc:spChg chg="mod">
          <ac:chgData name="Поворозник Ирина" userId="S::ivpovoroznik@severstal.severstalgroup.com::e6d1d7e0-6394-4b4f-95fb-523040259efb" providerId="AD" clId="Web-{28ED21B2-ABD4-420F-A0C6-8B9503689DF8}" dt="2021-03-19T14:00:55.964" v="0" actId="1076"/>
          <ac:spMkLst>
            <pc:docMk/>
            <pc:sldMk cId="2900861790" sldId="5536"/>
            <ac:spMk id="4" creationId="{7B2CC9C3-C28C-4A9C-811F-BE1499B48403}"/>
          </ac:spMkLst>
        </pc:spChg>
      </pc:sldChg>
    </pc:docChg>
  </pc:docChgLst>
  <pc:docChgLst>
    <pc:chgData name="Лорман Мария Сергеевна" userId="S::ms.lorman@severstal.severstalgroup.com::3dbbbd6b-3e97-4c06-9d3a-ad93bf4a0fb5" providerId="AD" clId="Web-{98C6F777-D3E7-40D0-8EA6-A98399B76E29}"/>
    <pc:docChg chg="modSld">
      <pc:chgData name="Лорман Мария Сергеевна" userId="S::ms.lorman@severstal.severstalgroup.com::3dbbbd6b-3e97-4c06-9d3a-ad93bf4a0fb5" providerId="AD" clId="Web-{98C6F777-D3E7-40D0-8EA6-A98399B76E29}" dt="2021-05-21T07:27:13.196" v="1" actId="1076"/>
      <pc:docMkLst>
        <pc:docMk/>
      </pc:docMkLst>
      <pc:sldChg chg="modSp">
        <pc:chgData name="Лорман Мария Сергеевна" userId="S::ms.lorman@severstal.severstalgroup.com::3dbbbd6b-3e97-4c06-9d3a-ad93bf4a0fb5" providerId="AD" clId="Web-{98C6F777-D3E7-40D0-8EA6-A98399B76E29}" dt="2021-05-21T07:27:13.196" v="1" actId="1076"/>
        <pc:sldMkLst>
          <pc:docMk/>
          <pc:sldMk cId="611030012" sldId="5568"/>
        </pc:sldMkLst>
        <pc:spChg chg="mod">
          <ac:chgData name="Лорман Мария Сергеевна" userId="S::ms.lorman@severstal.severstalgroup.com::3dbbbd6b-3e97-4c06-9d3a-ad93bf4a0fb5" providerId="AD" clId="Web-{98C6F777-D3E7-40D0-8EA6-A98399B76E29}" dt="2021-05-21T07:27:13.196" v="1" actId="1076"/>
          <ac:spMkLst>
            <pc:docMk/>
            <pc:sldMk cId="611030012" sldId="5568"/>
            <ac:spMk id="7" creationId="{EEDAD75D-7650-46F4-893D-120D585B4A7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F3480E7-DCB1-9445-AFD2-7B13C25149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6F0D84-728E-5B4D-8D19-DAB73781995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CE206C-933E-C54B-94CB-CF525CECCA65}" type="datetimeFigureOut">
              <a:t>20.08.2024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420414-30B9-7743-ABA3-E5D05A9E4D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E7B456-8CEB-0F4F-AE92-4F697F9922D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18C08B-0376-9840-84A6-B0D56A150416}" type="slidenum"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95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49F9D-86CE-4BF5-BEFC-0063BC819220}" type="datetimeFigureOut">
              <a:rPr lang="ru-RU" smtClean="0"/>
              <a:t>20.08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E5FA15-4E1C-487D-9F1E-D5A3ED2250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986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E5FA15-4E1C-487D-9F1E-D5A3ED22506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4052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9FB40C-3907-4441-A201-3F0C486A5A7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7850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E5FA15-4E1C-487D-9F1E-D5A3ED22506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3291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0.sv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0.sv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шаблона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30" name="Прямая соединительная линия 9">
            <a:extLst>
              <a:ext uri="{FF2B5EF4-FFF2-40B4-BE49-F238E27FC236}">
                <a16:creationId xmlns:a16="http://schemas.microsoft.com/office/drawing/2014/main" id="{8F4FE799-1569-445B-A49F-10F0A429BC4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3863158-CE6B-4333-BB35-9848BA3996BF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>
                <a:solidFill>
                  <a:schemeClr val="bg1"/>
                </a:solidFill>
              </a:rPr>
            </a:br>
            <a:r>
              <a:rPr lang="ru-RU" sz="500">
                <a:solidFill>
                  <a:schemeClr val="bg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8648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27922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3752273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2017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10147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278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A6239A19-9FAE-47A0-A477-EB1B77BF90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194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99E91E2D-3933-4E87-80A8-CF51895002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233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5AFA9D99-37C6-4CD3-B18D-2C7C47D2DB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75538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62C57C21-789C-4730-8529-0A92398E04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38741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0632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2290CE11-5240-42EA-BEE4-E19D7FE72B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310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E28F290B-8157-4FA7-81FC-055AFF55DE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84633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1910196-5F21-43B3-B9EA-9A786B910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9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4621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аленьк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7247B4CC-3E48-4A84-ABFD-5C8B1B8326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8546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FB2AA0CA-2D15-4343-89C4-52DC555FE6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7989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E56FC753-0B69-49EA-A82C-5DE0D7689F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673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3D1015E6-0C62-4573-AAC4-989A7E0CF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9855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7507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pSp>
        <p:nvGrpSpPr>
          <p:cNvPr id="8" name="Рисунок 3">
            <a:extLst>
              <a:ext uri="{FF2B5EF4-FFF2-40B4-BE49-F238E27FC236}">
                <a16:creationId xmlns:a16="http://schemas.microsoft.com/office/drawing/2014/main" id="{D663A8F4-12F9-49EE-A891-BBC78F6B8D5D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9EB08345-EDEA-4E5F-8C73-ECA9ED5D8D65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4E78553-2D46-4B56-A19D-70262B236649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94BFC336-5EDD-43A3-A172-69C55F21C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7036E895-99CC-4BCE-A997-EBA227FE1B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/>
              <a:t>Название презентации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id="{9178C993-2B33-4D2D-A01C-29320624F1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/>
              <a:t>ФИО спикера</a:t>
            </a:r>
          </a:p>
        </p:txBody>
      </p:sp>
      <p:sp>
        <p:nvSpPr>
          <p:cNvPr id="16" name="Текст 26">
            <a:extLst>
              <a:ext uri="{FF2B5EF4-FFF2-40B4-BE49-F238E27FC236}">
                <a16:creationId xmlns:a16="http://schemas.microsoft.com/office/drawing/2014/main" id="{618AF164-F755-4509-892D-5E791A82C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2298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/>
              <a:t>Дата мероприятия</a:t>
            </a:r>
          </a:p>
        </p:txBody>
      </p:sp>
      <p:sp>
        <p:nvSpPr>
          <p:cNvPr id="3" name="Graphic 17">
            <a:extLst>
              <a:ext uri="{FF2B5EF4-FFF2-40B4-BE49-F238E27FC236}">
                <a16:creationId xmlns:a16="http://schemas.microsoft.com/office/drawing/2014/main" id="{21860EE9-1D54-4890-BA25-82EEE1F55E4A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id="{940A7D6B-F4CD-4576-86E4-E1C99C335543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C17ABBDE-9098-4E13-93C4-6EA0D26307C6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66A9EE89-8C3A-423A-ABDC-D8800BA31A9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735B3712-F974-4981-9980-5F3243B30584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1095F3B0-1BD1-4667-87B5-A35C4D41C253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9C5A9DE7-A60C-4196-AC48-B355C45E6A0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2F4691E6-C1B7-4BC9-B963-6B9B0123D370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467392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паттерном и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grpSp>
        <p:nvGrpSpPr>
          <p:cNvPr id="8" name="Рисунок 3">
            <a:extLst>
              <a:ext uri="{FF2B5EF4-FFF2-40B4-BE49-F238E27FC236}">
                <a16:creationId xmlns:a16="http://schemas.microsoft.com/office/drawing/2014/main" id="{D663A8F4-12F9-49EE-A891-BBC78F6B8D5D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9EB08345-EDEA-4E5F-8C73-ECA9ED5D8D65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4E78553-2D46-4B56-A19D-70262B236649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/>
              <a:t>Название презентации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129" name="Текст 26">
            <a:extLst>
              <a:ext uri="{FF2B5EF4-FFF2-40B4-BE49-F238E27FC236}">
                <a16:creationId xmlns:a16="http://schemas.microsoft.com/office/drawing/2014/main" id="{D643C23A-21DF-4A11-9613-BE047F65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/>
              <a:t>ФИО спикера</a:t>
            </a:r>
          </a:p>
        </p:txBody>
      </p:sp>
      <p:sp>
        <p:nvSpPr>
          <p:cNvPr id="130" name="Текст 26">
            <a:extLst>
              <a:ext uri="{FF2B5EF4-FFF2-40B4-BE49-F238E27FC236}">
                <a16:creationId xmlns:a16="http://schemas.microsoft.com/office/drawing/2014/main" id="{96C130DF-2DCF-4E01-A041-882E668D9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/>
              <a:t>Дата мероприятия</a:t>
            </a:r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5" name="Graphic 17">
            <a:extLst>
              <a:ext uri="{FF2B5EF4-FFF2-40B4-BE49-F238E27FC236}">
                <a16:creationId xmlns:a16="http://schemas.microsoft.com/office/drawing/2014/main" id="{2C9AA463-E793-494A-8206-B6BED4BC2879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6" name="Graphic 5">
            <a:extLst>
              <a:ext uri="{FF2B5EF4-FFF2-40B4-BE49-F238E27FC236}">
                <a16:creationId xmlns:a16="http://schemas.microsoft.com/office/drawing/2014/main" id="{67FF1BB9-87BE-4A1D-B320-4EF231DE6EFB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23D8B1EB-8596-431D-8D9A-1E4B16C050B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0E54E79B-34B5-4ACE-9864-B09062E0F84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AFF14E2A-6863-4FC2-88BF-0D7CD8AB46D3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6B25209E-9B8B-4CC4-A8C2-9BA9F90E7A15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47414B1A-F017-42D7-BA9D-3977DF66EB44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E60B1359-FD5A-4C91-BF42-2AAD0AC0E2D2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56070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Фото снизу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69F1000-9498-4503-8A1B-A9F2F74796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54C8E9FF-1179-4A71-BA7A-F9962932E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6" y="3408220"/>
            <a:ext cx="12192000" cy="3449781"/>
          </a:xfrm>
          <a:custGeom>
            <a:avLst/>
            <a:gdLst>
              <a:gd name="connsiteX0" fmla="*/ 0 w 12192000"/>
              <a:gd name="connsiteY0" fmla="*/ 0 h 3449781"/>
              <a:gd name="connsiteX1" fmla="*/ 12192000 w 12192000"/>
              <a:gd name="connsiteY1" fmla="*/ 0 h 3449781"/>
              <a:gd name="connsiteX2" fmla="*/ 12192000 w 12192000"/>
              <a:gd name="connsiteY2" fmla="*/ 3449781 h 3449781"/>
              <a:gd name="connsiteX3" fmla="*/ 0 w 12192000"/>
              <a:gd name="connsiteY3" fmla="*/ 3449781 h 344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49781">
                <a:moveTo>
                  <a:pt x="0" y="0"/>
                </a:moveTo>
                <a:lnTo>
                  <a:pt x="12192000" y="0"/>
                </a:lnTo>
                <a:lnTo>
                  <a:pt x="12192000" y="3449781"/>
                </a:lnTo>
                <a:lnTo>
                  <a:pt x="0" y="3449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7402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/>
              <a:t>Название презентации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id="{C6420719-76EA-45F3-B4D3-EBCB4430D9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/>
              <a:t>ФИО спикера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08094B0E-B9DC-41A9-8742-E62D5644B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/>
              <a:t>Дата мероприятия</a:t>
            </a:r>
          </a:p>
        </p:txBody>
      </p:sp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705B174-2BCB-475F-B5F7-2AC86EA893A5}"/>
              </a:ext>
            </a:extLst>
          </p:cNvPr>
          <p:cNvSpPr/>
          <p:nvPr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id="{0279107F-963C-4D85-BC66-580B5F59AE9D}"/>
              </a:ext>
            </a:extLst>
          </p:cNvPr>
          <p:cNvSpPr/>
          <p:nvPr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5E0FE2BA-B08F-41AC-B695-558ED857DAAF}"/>
              </a:ext>
            </a:extLst>
          </p:cNvPr>
          <p:cNvSpPr/>
          <p:nvPr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F54BF84A-3A49-46E7-BBCD-BB696C95E90B}"/>
              </a:ext>
            </a:extLst>
          </p:cNvPr>
          <p:cNvSpPr/>
          <p:nvPr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E9AB1E05-C0C5-4FDD-B60D-054B6347BF52}"/>
              </a:ext>
            </a:extLst>
          </p:cNvPr>
          <p:cNvSpPr/>
          <p:nvPr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4A30386-E577-43D2-B52B-1B7FBAD6C03D}"/>
              </a:ext>
            </a:extLst>
          </p:cNvPr>
          <p:cNvSpPr/>
          <p:nvPr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id="{7EDCF66B-6839-42A8-8548-EEB6D7A54DD9}"/>
              </a:ext>
            </a:extLst>
          </p:cNvPr>
          <p:cNvSpPr/>
          <p:nvPr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9E8F511C-6A5E-4D3B-B61B-7480067C96BF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id="{18D1C764-45FD-4989-8FCD-7756DC96AC35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4" name="Graphic 17">
            <a:extLst>
              <a:ext uri="{FF2B5EF4-FFF2-40B4-BE49-F238E27FC236}">
                <a16:creationId xmlns:a16="http://schemas.microsoft.com/office/drawing/2014/main" id="{59EEFF78-1504-4AE7-B6D5-04ACF1E9B391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0000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id="{5514F9D7-2A08-456F-9B5F-67F89D711017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0000"/>
          </a:solidFill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92534BBA-4A84-4D3F-AF56-65A58239D39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6D856C1F-4F92-42C6-818D-EEE7FD0BB2DA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7FE31231-E789-403C-9695-EAA16BCA6977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BB6D01F6-C28C-4B9E-9D35-26DF830359F2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4174E61F-94A9-49FA-8ADF-A592EDF2D0D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3E7D2FFF-8B6A-4AB9-913D-1BA7ACDA9417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62347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кругов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/>
              <a:t>Спасибо</a:t>
            </a:r>
            <a:br>
              <a:rPr lang="ru-RU"/>
            </a:br>
            <a:r>
              <a:rPr lang="ru-RU"/>
              <a:t>за внимание</a:t>
            </a: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3" name="Дуга 22">
            <a:extLst>
              <a:ext uri="{FF2B5EF4-FFF2-40B4-BE49-F238E27FC236}">
                <a16:creationId xmlns:a16="http://schemas.microsoft.com/office/drawing/2014/main" id="{4C3B535E-684D-426C-8ADE-C03140386582}"/>
              </a:ext>
            </a:extLst>
          </p:cNvPr>
          <p:cNvSpPr/>
          <p:nvPr/>
        </p:nvSpPr>
        <p:spPr bwMode="auto">
          <a:xfrm rot="3600000">
            <a:off x="10171446" y="2477067"/>
            <a:ext cx="2410528" cy="2410528"/>
          </a:xfrm>
          <a:prstGeom prst="arc">
            <a:avLst>
              <a:gd name="adj1" fmla="val 10194380"/>
              <a:gd name="adj2" fmla="val 19371489"/>
            </a:avLst>
          </a:prstGeom>
          <a:noFill/>
          <a:ln w="6127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Дуга 23">
            <a:extLst>
              <a:ext uri="{FF2B5EF4-FFF2-40B4-BE49-F238E27FC236}">
                <a16:creationId xmlns:a16="http://schemas.microsoft.com/office/drawing/2014/main" id="{10AC72FE-A8ED-47AA-A6B1-13C20BE18903}"/>
              </a:ext>
            </a:extLst>
          </p:cNvPr>
          <p:cNvSpPr/>
          <p:nvPr/>
        </p:nvSpPr>
        <p:spPr bwMode="auto">
          <a:xfrm rot="3600000">
            <a:off x="9587597" y="1884753"/>
            <a:ext cx="3604045" cy="3604045"/>
          </a:xfrm>
          <a:prstGeom prst="arc">
            <a:avLst>
              <a:gd name="adj1" fmla="val 7022578"/>
              <a:gd name="adj2" fmla="val 18021140"/>
            </a:avLst>
          </a:prstGeom>
          <a:noFill/>
          <a:ln w="61277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Дуга 25">
            <a:extLst>
              <a:ext uri="{FF2B5EF4-FFF2-40B4-BE49-F238E27FC236}">
                <a16:creationId xmlns:a16="http://schemas.microsoft.com/office/drawing/2014/main" id="{96BE5786-7306-4265-81AC-40FA7DBE2D77}"/>
              </a:ext>
            </a:extLst>
          </p:cNvPr>
          <p:cNvSpPr/>
          <p:nvPr/>
        </p:nvSpPr>
        <p:spPr bwMode="auto">
          <a:xfrm rot="3600000">
            <a:off x="8979579" y="1276735"/>
            <a:ext cx="4820082" cy="4820082"/>
          </a:xfrm>
          <a:prstGeom prst="arc">
            <a:avLst>
              <a:gd name="adj1" fmla="val 20794557"/>
              <a:gd name="adj2" fmla="val 5166418"/>
            </a:avLst>
          </a:prstGeom>
          <a:noFill/>
          <a:ln w="612775" cap="flat" cmpd="sng" algn="ctr">
            <a:gradFill>
              <a:gsLst>
                <a:gs pos="28416">
                  <a:srgbClr val="4F5657"/>
                </a:gs>
                <a:gs pos="0">
                  <a:srgbClr val="C9C8C9"/>
                </a:gs>
                <a:gs pos="83000">
                  <a:srgbClr val="D6D6D8"/>
                </a:gs>
                <a:gs pos="100000">
                  <a:srgbClr val="848A90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Дуга 26">
            <a:extLst>
              <a:ext uri="{FF2B5EF4-FFF2-40B4-BE49-F238E27FC236}">
                <a16:creationId xmlns:a16="http://schemas.microsoft.com/office/drawing/2014/main" id="{6BE4109A-C517-4E4F-BD7F-48E0B181EFAF}"/>
              </a:ext>
            </a:extLst>
          </p:cNvPr>
          <p:cNvSpPr/>
          <p:nvPr/>
        </p:nvSpPr>
        <p:spPr bwMode="auto">
          <a:xfrm rot="3600000">
            <a:off x="7744703" y="41859"/>
            <a:ext cx="7289835" cy="7289835"/>
          </a:xfrm>
          <a:prstGeom prst="arc">
            <a:avLst>
              <a:gd name="adj1" fmla="val 7093785"/>
              <a:gd name="adj2" fmla="val 13987603"/>
            </a:avLst>
          </a:prstGeom>
          <a:noFill/>
          <a:ln w="6127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Дуга 28">
            <a:extLst>
              <a:ext uri="{FF2B5EF4-FFF2-40B4-BE49-F238E27FC236}">
                <a16:creationId xmlns:a16="http://schemas.microsoft.com/office/drawing/2014/main" id="{740777A4-C028-41DE-B040-61B8A5E3824F}"/>
              </a:ext>
            </a:extLst>
          </p:cNvPr>
          <p:cNvSpPr/>
          <p:nvPr userDrawn="1"/>
        </p:nvSpPr>
        <p:spPr bwMode="auto">
          <a:xfrm rot="3600000">
            <a:off x="8362248" y="659404"/>
            <a:ext cx="6054745" cy="6054745"/>
          </a:xfrm>
          <a:prstGeom prst="arc">
            <a:avLst>
              <a:gd name="adj1" fmla="val 388953"/>
              <a:gd name="adj2" fmla="val 6187821"/>
            </a:avLst>
          </a:prstGeom>
          <a:noFill/>
          <a:ln w="6127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Дуга 31">
            <a:extLst>
              <a:ext uri="{FF2B5EF4-FFF2-40B4-BE49-F238E27FC236}">
                <a16:creationId xmlns:a16="http://schemas.microsoft.com/office/drawing/2014/main" id="{16FBF844-8C37-4703-8E8B-30B62A01BCCB}"/>
              </a:ext>
            </a:extLst>
          </p:cNvPr>
          <p:cNvSpPr/>
          <p:nvPr userDrawn="1"/>
        </p:nvSpPr>
        <p:spPr bwMode="auto">
          <a:xfrm rot="3600000">
            <a:off x="10785414" y="3091035"/>
            <a:ext cx="1182592" cy="1182592"/>
          </a:xfrm>
          <a:prstGeom prst="arc">
            <a:avLst>
              <a:gd name="adj1" fmla="val 15067993"/>
              <a:gd name="adj2" fmla="val 3529940"/>
            </a:avLst>
          </a:prstGeom>
          <a:noFill/>
          <a:ln w="612775" cap="flat" cmpd="sng" algn="ctr">
            <a:gradFill>
              <a:gsLst>
                <a:gs pos="28416">
                  <a:srgbClr val="4F5657"/>
                </a:gs>
                <a:gs pos="0">
                  <a:srgbClr val="C9C8C9"/>
                </a:gs>
                <a:gs pos="83000">
                  <a:srgbClr val="D6D6D8"/>
                </a:gs>
                <a:gs pos="100000">
                  <a:srgbClr val="848A90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4423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ение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/>
              <a:t>Спасибо</a:t>
            </a:r>
            <a:br>
              <a:rPr lang="ru-RU"/>
            </a:br>
            <a:r>
              <a:rPr lang="ru-RU"/>
              <a:t>за внимание</a:t>
            </a: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DB8C6F4E-80AE-4CB3-82F3-E0629F85E98A}"/>
              </a:ext>
            </a:extLst>
          </p:cNvPr>
          <p:cNvSpPr/>
          <p:nvPr userDrawn="1"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Полилиния: фигура 2">
            <a:extLst>
              <a:ext uri="{FF2B5EF4-FFF2-40B4-BE49-F238E27FC236}">
                <a16:creationId xmlns:a16="http://schemas.microsoft.com/office/drawing/2014/main" id="{CB3A444A-E5F0-4FFD-9DC1-CD7FB326DAB6}"/>
              </a:ext>
            </a:extLst>
          </p:cNvPr>
          <p:cNvSpPr/>
          <p:nvPr userDrawn="1"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Полилиния: фигура 3">
            <a:extLst>
              <a:ext uri="{FF2B5EF4-FFF2-40B4-BE49-F238E27FC236}">
                <a16:creationId xmlns:a16="http://schemas.microsoft.com/office/drawing/2014/main" id="{8865A60B-ACD4-45F8-AF22-1F5B2DA9790D}"/>
              </a:ext>
            </a:extLst>
          </p:cNvPr>
          <p:cNvSpPr/>
          <p:nvPr userDrawn="1"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7836FD41-14BD-4C48-9332-1ED0825F86BF}"/>
              </a:ext>
            </a:extLst>
          </p:cNvPr>
          <p:cNvSpPr/>
          <p:nvPr userDrawn="1"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id="{18EA802B-A64D-4D87-B785-A9C1BBD630BE}"/>
              </a:ext>
            </a:extLst>
          </p:cNvPr>
          <p:cNvSpPr/>
          <p:nvPr userDrawn="1"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олилиния: фигура 6">
            <a:extLst>
              <a:ext uri="{FF2B5EF4-FFF2-40B4-BE49-F238E27FC236}">
                <a16:creationId xmlns:a16="http://schemas.microsoft.com/office/drawing/2014/main" id="{8565576C-67AB-4679-AB14-104440A43FD3}"/>
              </a:ext>
            </a:extLst>
          </p:cNvPr>
          <p:cNvSpPr/>
          <p:nvPr userDrawn="1"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DF96CDC5-1835-4B1A-B51F-B61DD3293AA9}"/>
              </a:ext>
            </a:extLst>
          </p:cNvPr>
          <p:cNvSpPr/>
          <p:nvPr userDrawn="1"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A9776F79-468B-44C6-8B11-6209C717CA67}"/>
              </a:ext>
            </a:extLst>
          </p:cNvPr>
          <p:cNvSpPr/>
          <p:nvPr userDrawn="1"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7C1924A7-5BBA-4DD5-9D00-1D7C79A565F0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id="{44E97757-9271-4211-9749-1E9D34CAD44F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2378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 синий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Рисунок 3">
            <a:extLst>
              <a:ext uri="{FF2B5EF4-FFF2-40B4-BE49-F238E27FC236}">
                <a16:creationId xmlns:a16="http://schemas.microsoft.com/office/drawing/2014/main" id="{3AF7360D-0ACE-49A4-BFCB-664580DCE466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F6481FE0-98D1-47DB-A94C-AC28AB72883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id="{B11FC44A-196E-443A-B14F-64CB50F4802A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8F4C8739-0D64-4D24-9292-4DA86A346971}"/>
              </a:ext>
            </a:extLst>
          </p:cNvPr>
          <p:cNvGrpSpPr/>
          <p:nvPr userDrawn="1"/>
        </p:nvGrpSpPr>
        <p:grpSpPr>
          <a:xfrm>
            <a:off x="7717485" y="-1409700"/>
            <a:ext cx="7898715" cy="8267700"/>
            <a:chOff x="7717485" y="-1409700"/>
            <a:chExt cx="7898715" cy="8267700"/>
          </a:xfrm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0A7705CA-8C8A-4C11-8D88-32DCA6E8700D}"/>
                </a:ext>
              </a:extLst>
            </p:cNvPr>
            <p:cNvSpPr/>
            <p:nvPr/>
          </p:nvSpPr>
          <p:spPr>
            <a:xfrm>
              <a:off x="11107241" y="-1409700"/>
              <a:ext cx="4508959" cy="3757209"/>
            </a:xfrm>
            <a:custGeom>
              <a:avLst/>
              <a:gdLst>
                <a:gd name="connsiteX0" fmla="*/ 3116580 w 3740150"/>
                <a:gd name="connsiteY0" fmla="*/ 0 h 3116579"/>
                <a:gd name="connsiteX1" fmla="*/ 0 w 3740150"/>
                <a:gd name="connsiteY1" fmla="*/ 3116580 h 3116579"/>
                <a:gd name="connsiteX2" fmla="*/ 623570 w 3740150"/>
                <a:gd name="connsiteY2" fmla="*/ 3116580 h 3116579"/>
                <a:gd name="connsiteX3" fmla="*/ 3740150 w 3740150"/>
                <a:gd name="connsiteY3" fmla="*/ 0 h 311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0150" h="3116579">
                  <a:moveTo>
                    <a:pt x="3116580" y="0"/>
                  </a:moveTo>
                  <a:lnTo>
                    <a:pt x="0" y="3116580"/>
                  </a:lnTo>
                  <a:lnTo>
                    <a:pt x="623570" y="3116580"/>
                  </a:lnTo>
                  <a:lnTo>
                    <a:pt x="3740150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E9EB22CF-CA57-4EC6-9C31-3BC2BD0507AD}"/>
                </a:ext>
              </a:extLst>
            </p:cNvPr>
            <p:cNvSpPr/>
            <p:nvPr/>
          </p:nvSpPr>
          <p:spPr>
            <a:xfrm>
              <a:off x="9603745" y="-1409700"/>
              <a:ext cx="4508959" cy="3757209"/>
            </a:xfrm>
            <a:custGeom>
              <a:avLst/>
              <a:gdLst>
                <a:gd name="connsiteX0" fmla="*/ 3116580 w 3740150"/>
                <a:gd name="connsiteY0" fmla="*/ 0 h 3116579"/>
                <a:gd name="connsiteX1" fmla="*/ 0 w 3740150"/>
                <a:gd name="connsiteY1" fmla="*/ 3116580 h 3116579"/>
                <a:gd name="connsiteX2" fmla="*/ 623570 w 3740150"/>
                <a:gd name="connsiteY2" fmla="*/ 3116580 h 3116579"/>
                <a:gd name="connsiteX3" fmla="*/ 3740150 w 3740150"/>
                <a:gd name="connsiteY3" fmla="*/ 0 h 311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0150" h="3116579">
                  <a:moveTo>
                    <a:pt x="3116580" y="0"/>
                  </a:moveTo>
                  <a:lnTo>
                    <a:pt x="0" y="3116580"/>
                  </a:lnTo>
                  <a:lnTo>
                    <a:pt x="623570" y="3116580"/>
                  </a:lnTo>
                  <a:lnTo>
                    <a:pt x="3740150" y="0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18900000" scaled="1"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EE2853F8-94FB-4300-90C2-C82956DE92A4}"/>
                </a:ext>
              </a:extLst>
            </p:cNvPr>
            <p:cNvSpPr/>
            <p:nvPr/>
          </p:nvSpPr>
          <p:spPr>
            <a:xfrm>
              <a:off x="8100248" y="4978629"/>
              <a:ext cx="2631118" cy="1879371"/>
            </a:xfrm>
            <a:custGeom>
              <a:avLst/>
              <a:gdLst>
                <a:gd name="connsiteX0" fmla="*/ 1558925 w 2182494"/>
                <a:gd name="connsiteY0" fmla="*/ 0 h 1558925"/>
                <a:gd name="connsiteX1" fmla="*/ 0 w 2182494"/>
                <a:gd name="connsiteY1" fmla="*/ 1558925 h 1558925"/>
                <a:gd name="connsiteX2" fmla="*/ 623570 w 2182494"/>
                <a:gd name="connsiteY2" fmla="*/ 1558925 h 1558925"/>
                <a:gd name="connsiteX3" fmla="*/ 2182495 w 2182494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494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24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D62CB5CA-EAF9-446B-8EC4-BE78F12F17F1}"/>
                </a:ext>
              </a:extLst>
            </p:cNvPr>
            <p:cNvSpPr/>
            <p:nvPr/>
          </p:nvSpPr>
          <p:spPr>
            <a:xfrm>
              <a:off x="7717485" y="4978629"/>
              <a:ext cx="6889" cy="6890"/>
            </a:xfrm>
            <a:custGeom>
              <a:avLst/>
              <a:gdLst>
                <a:gd name="connsiteX0" fmla="*/ 0 w 5714"/>
                <a:gd name="connsiteY0" fmla="*/ 0 h 5715"/>
                <a:gd name="connsiteX1" fmla="*/ 0 w 5714"/>
                <a:gd name="connsiteY1" fmla="*/ 5715 h 5715"/>
                <a:gd name="connsiteX2" fmla="*/ 5715 w 5714"/>
                <a:gd name="connsiteY2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" h="5715">
                  <a:moveTo>
                    <a:pt x="0" y="0"/>
                  </a:moveTo>
                  <a:lnTo>
                    <a:pt x="0" y="5715"/>
                  </a:lnTo>
                  <a:lnTo>
                    <a:pt x="5715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00CA567-3944-4ABA-A6C7-2FB6947F548D}"/>
                </a:ext>
              </a:extLst>
            </p:cNvPr>
            <p:cNvSpPr/>
            <p:nvPr/>
          </p:nvSpPr>
          <p:spPr>
            <a:xfrm>
              <a:off x="9603745" y="4978629"/>
              <a:ext cx="2630352" cy="1879371"/>
            </a:xfrm>
            <a:custGeom>
              <a:avLst/>
              <a:gdLst>
                <a:gd name="connsiteX0" fmla="*/ 1558925 w 2181859"/>
                <a:gd name="connsiteY0" fmla="*/ 0 h 1558925"/>
                <a:gd name="connsiteX1" fmla="*/ 0 w 2181859"/>
                <a:gd name="connsiteY1" fmla="*/ 1558925 h 1558925"/>
                <a:gd name="connsiteX2" fmla="*/ 623570 w 2181859"/>
                <a:gd name="connsiteY2" fmla="*/ 1558925 h 1558925"/>
                <a:gd name="connsiteX3" fmla="*/ 2181860 w 2181859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1859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186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C7981DD3-0670-4919-B3C1-523E67D2ED97}"/>
                </a:ext>
              </a:extLst>
            </p:cNvPr>
            <p:cNvSpPr/>
            <p:nvPr/>
          </p:nvSpPr>
          <p:spPr>
            <a:xfrm>
              <a:off x="10731367" y="2347509"/>
              <a:ext cx="3382101" cy="2631119"/>
            </a:xfrm>
            <a:custGeom>
              <a:avLst/>
              <a:gdLst>
                <a:gd name="connsiteX0" fmla="*/ 2181860 w 2805429"/>
                <a:gd name="connsiteY0" fmla="*/ 0 h 2182495"/>
                <a:gd name="connsiteX1" fmla="*/ 0 w 2805429"/>
                <a:gd name="connsiteY1" fmla="*/ 2182495 h 2182495"/>
                <a:gd name="connsiteX2" fmla="*/ 623570 w 2805429"/>
                <a:gd name="connsiteY2" fmla="*/ 2182495 h 2182495"/>
                <a:gd name="connsiteX3" fmla="*/ 2805430 w 2805429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5429" h="2182495">
                  <a:moveTo>
                    <a:pt x="2181860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5430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50B0CEB-6342-4EE6-B2EB-1DDDC71FC0D5}"/>
                </a:ext>
              </a:extLst>
            </p:cNvPr>
            <p:cNvSpPr/>
            <p:nvPr/>
          </p:nvSpPr>
          <p:spPr>
            <a:xfrm>
              <a:off x="7724375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3199B1E9-72E3-4CB4-9688-694170FD6D49}"/>
                </a:ext>
              </a:extLst>
            </p:cNvPr>
            <p:cNvSpPr/>
            <p:nvPr/>
          </p:nvSpPr>
          <p:spPr>
            <a:xfrm>
              <a:off x="9207200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/>
              <a:t>Название презентации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/>
              <a:t>Дата мероприятия</a:t>
            </a:r>
          </a:p>
        </p:txBody>
      </p:sp>
      <p:sp>
        <p:nvSpPr>
          <p:cNvPr id="16" name="Graphic 17">
            <a:extLst>
              <a:ext uri="{FF2B5EF4-FFF2-40B4-BE49-F238E27FC236}">
                <a16:creationId xmlns:a16="http://schemas.microsoft.com/office/drawing/2014/main" id="{67E33C7A-8A8F-4E25-8819-7C6CF003FD43}"/>
              </a:ext>
            </a:extLst>
          </p:cNvPr>
          <p:cNvSpPr/>
          <p:nvPr/>
        </p:nvSpPr>
        <p:spPr>
          <a:xfrm>
            <a:off x="426123" y="4553400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7" name="Graphic 5">
            <a:extLst>
              <a:ext uri="{FF2B5EF4-FFF2-40B4-BE49-F238E27FC236}">
                <a16:creationId xmlns:a16="http://schemas.microsoft.com/office/drawing/2014/main" id="{C9A8D45A-D37B-427B-97A6-183FFB1D0441}"/>
              </a:ext>
            </a:extLst>
          </p:cNvPr>
          <p:cNvGrpSpPr/>
          <p:nvPr/>
        </p:nvGrpSpPr>
        <p:grpSpPr>
          <a:xfrm>
            <a:off x="423152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8E031E6C-12E6-45FA-BDE0-D6839526AF2F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9B0ECB36-E663-4C7D-955E-7F36BA6A9466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A236534E-4284-4B52-9411-765C71112A20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EDC830DE-9C9F-4DA6-B305-ABB92B679232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D2B539FE-4D14-41C5-AA98-69B20130DC16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B8FC65B9-23ED-4CAB-8671-D246BD6E31F7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508028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иний титул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Рисунок 3">
            <a:extLst>
              <a:ext uri="{FF2B5EF4-FFF2-40B4-BE49-F238E27FC236}">
                <a16:creationId xmlns:a16="http://schemas.microsoft.com/office/drawing/2014/main" id="{3AF7360D-0ACE-49A4-BFCB-664580DCE466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F6481FE0-98D1-47DB-A94C-AC28AB72883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id="{B11FC44A-196E-443A-B14F-64CB50F4802A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/>
              <a:t>Название презентации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/>
              <a:t>Дата мероприятия</a:t>
            </a:r>
          </a:p>
        </p:txBody>
      </p:sp>
      <p:sp>
        <p:nvSpPr>
          <p:cNvPr id="7" name="Graphic 17">
            <a:extLst>
              <a:ext uri="{FF2B5EF4-FFF2-40B4-BE49-F238E27FC236}">
                <a16:creationId xmlns:a16="http://schemas.microsoft.com/office/drawing/2014/main" id="{C3B7CBEA-8AD0-441A-A1D4-0F139AA06B72}"/>
              </a:ext>
            </a:extLst>
          </p:cNvPr>
          <p:cNvSpPr/>
          <p:nvPr/>
        </p:nvSpPr>
        <p:spPr>
          <a:xfrm>
            <a:off x="426123" y="4553400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8" name="Graphic 5">
            <a:extLst>
              <a:ext uri="{FF2B5EF4-FFF2-40B4-BE49-F238E27FC236}">
                <a16:creationId xmlns:a16="http://schemas.microsoft.com/office/drawing/2014/main" id="{0ED128A5-3EB3-44B8-9514-60A5376432F9}"/>
              </a:ext>
            </a:extLst>
          </p:cNvPr>
          <p:cNvGrpSpPr/>
          <p:nvPr/>
        </p:nvGrpSpPr>
        <p:grpSpPr>
          <a:xfrm>
            <a:off x="423152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44C7458C-BC06-4494-B0B1-ED17D4216707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B0A125BB-D6AD-40EB-AF08-A420D4A06CA2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FE010376-EF61-40DD-9CC0-A54051ADCD08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4D0A3AB1-ACF0-4986-A1E6-6187A094D6AF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DD255570-96B8-48CC-B29C-749451787D24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94F19008-463B-4253-9647-BF159CAD5573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332000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2765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иний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5329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иагональный паттерн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4CE0A532-2796-40D5-A00D-592B82F1A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0"/>
            <a:ext cx="12190476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69D422-068F-4038-B61F-055EE178BF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5875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4257092"/>
            <a:ext cx="6176427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/>
              <a:t>Название раздела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4142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диагональным паттерном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>
            <a:extLst>
              <a:ext uri="{FF2B5EF4-FFF2-40B4-BE49-F238E27FC236}">
                <a16:creationId xmlns:a16="http://schemas.microsoft.com/office/drawing/2014/main" id="{AA4AF783-430B-4C8F-8FCF-932803F467F5}"/>
              </a:ext>
            </a:extLst>
          </p:cNvPr>
          <p:cNvSpPr/>
          <p:nvPr/>
        </p:nvSpPr>
        <p:spPr>
          <a:xfrm>
            <a:off x="354860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араллелограмм 7">
            <a:extLst>
              <a:ext uri="{FF2B5EF4-FFF2-40B4-BE49-F238E27FC236}">
                <a16:creationId xmlns:a16="http://schemas.microsoft.com/office/drawing/2014/main" id="{FEEDDF4E-FD57-41B2-B225-953B6EA027D1}"/>
              </a:ext>
            </a:extLst>
          </p:cNvPr>
          <p:cNvSpPr/>
          <p:nvPr/>
        </p:nvSpPr>
        <p:spPr>
          <a:xfrm>
            <a:off x="594126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id="{15FF8BE3-CB84-49EC-B277-FD4E2EEE5729}"/>
              </a:ext>
            </a:extLst>
          </p:cNvPr>
          <p:cNvSpPr/>
          <p:nvPr/>
        </p:nvSpPr>
        <p:spPr>
          <a:xfrm>
            <a:off x="8333928" y="0"/>
            <a:ext cx="3858073" cy="3434914"/>
          </a:xfrm>
          <a:custGeom>
            <a:avLst/>
            <a:gdLst>
              <a:gd name="connsiteX0" fmla="*/ 3304216 w 3858073"/>
              <a:gd name="connsiteY0" fmla="*/ 0 h 3434914"/>
              <a:gd name="connsiteX1" fmla="*/ 3858073 w 3858073"/>
              <a:gd name="connsiteY1" fmla="*/ 0 h 3434914"/>
              <a:gd name="connsiteX2" fmla="*/ 3858073 w 3858073"/>
              <a:gd name="connsiteY2" fmla="*/ 668275 h 3434914"/>
              <a:gd name="connsiteX3" fmla="*/ 1196704 w 3858073"/>
              <a:gd name="connsiteY3" fmla="*/ 3434914 h 3434914"/>
              <a:gd name="connsiteX4" fmla="*/ 0 w 3858073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8073" h="3434914">
                <a:moveTo>
                  <a:pt x="3304216" y="0"/>
                </a:moveTo>
                <a:lnTo>
                  <a:pt x="3858073" y="0"/>
                </a:lnTo>
                <a:lnTo>
                  <a:pt x="3858073" y="668275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C1BD6F0-FD89-4582-B4EC-82A01A1E99D9}"/>
              </a:ext>
            </a:extLst>
          </p:cNvPr>
          <p:cNvSpPr/>
          <p:nvPr/>
        </p:nvSpPr>
        <p:spPr>
          <a:xfrm>
            <a:off x="10726588" y="1911538"/>
            <a:ext cx="1465413" cy="1523377"/>
          </a:xfrm>
          <a:custGeom>
            <a:avLst/>
            <a:gdLst>
              <a:gd name="connsiteX0" fmla="*/ 1465413 w 1465413"/>
              <a:gd name="connsiteY0" fmla="*/ 0 h 1523377"/>
              <a:gd name="connsiteX1" fmla="*/ 1465413 w 1465413"/>
              <a:gd name="connsiteY1" fmla="*/ 1244039 h 1523377"/>
              <a:gd name="connsiteX2" fmla="*/ 1196704 w 1465413"/>
              <a:gd name="connsiteY2" fmla="*/ 1523377 h 1523377"/>
              <a:gd name="connsiteX3" fmla="*/ 0 w 1465413"/>
              <a:gd name="connsiteY3" fmla="*/ 1523377 h 1523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5413" h="1523377">
                <a:moveTo>
                  <a:pt x="1465413" y="0"/>
                </a:moveTo>
                <a:lnTo>
                  <a:pt x="1465413" y="1244039"/>
                </a:lnTo>
                <a:lnTo>
                  <a:pt x="1196704" y="1523377"/>
                </a:lnTo>
                <a:lnTo>
                  <a:pt x="0" y="1523377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араллелограмм 10">
            <a:extLst>
              <a:ext uri="{FF2B5EF4-FFF2-40B4-BE49-F238E27FC236}">
                <a16:creationId xmlns:a16="http://schemas.microsoft.com/office/drawing/2014/main" id="{F49C9FF9-DE43-4D1D-95D0-0E28AF19877B}"/>
              </a:ext>
            </a:extLst>
          </p:cNvPr>
          <p:cNvSpPr/>
          <p:nvPr/>
        </p:nvSpPr>
        <p:spPr>
          <a:xfrm>
            <a:off x="1450951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араллелограмм 11">
            <a:extLst>
              <a:ext uri="{FF2B5EF4-FFF2-40B4-BE49-F238E27FC236}">
                <a16:creationId xmlns:a16="http://schemas.microsoft.com/office/drawing/2014/main" id="{F425DAFD-1B29-415B-9704-2E332FB65534}"/>
              </a:ext>
            </a:extLst>
          </p:cNvPr>
          <p:cNvSpPr/>
          <p:nvPr/>
        </p:nvSpPr>
        <p:spPr>
          <a:xfrm>
            <a:off x="3843613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Параллелограмм 12">
            <a:extLst>
              <a:ext uri="{FF2B5EF4-FFF2-40B4-BE49-F238E27FC236}">
                <a16:creationId xmlns:a16="http://schemas.microsoft.com/office/drawing/2014/main" id="{998314EC-5479-4B3A-B38D-053EE212E841}"/>
              </a:ext>
            </a:extLst>
          </p:cNvPr>
          <p:cNvSpPr/>
          <p:nvPr/>
        </p:nvSpPr>
        <p:spPr>
          <a:xfrm>
            <a:off x="6236274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6214A511-888A-4563-85FF-ACEA85EBFFDB}"/>
              </a:ext>
            </a:extLst>
          </p:cNvPr>
          <p:cNvSpPr/>
          <p:nvPr/>
        </p:nvSpPr>
        <p:spPr>
          <a:xfrm>
            <a:off x="8628932" y="3423086"/>
            <a:ext cx="3563069" cy="3434914"/>
          </a:xfrm>
          <a:custGeom>
            <a:avLst/>
            <a:gdLst>
              <a:gd name="connsiteX0" fmla="*/ 3304216 w 3563069"/>
              <a:gd name="connsiteY0" fmla="*/ 0 h 3434914"/>
              <a:gd name="connsiteX1" fmla="*/ 3563069 w 3563069"/>
              <a:gd name="connsiteY1" fmla="*/ 0 h 3434914"/>
              <a:gd name="connsiteX2" fmla="*/ 3563069 w 3563069"/>
              <a:gd name="connsiteY2" fmla="*/ 974948 h 3434914"/>
              <a:gd name="connsiteX3" fmla="*/ 1196704 w 3563069"/>
              <a:gd name="connsiteY3" fmla="*/ 3434914 h 3434914"/>
              <a:gd name="connsiteX4" fmla="*/ 0 w 3563069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3069" h="3434914">
                <a:moveTo>
                  <a:pt x="3304216" y="0"/>
                </a:moveTo>
                <a:lnTo>
                  <a:pt x="3563069" y="0"/>
                </a:lnTo>
                <a:lnTo>
                  <a:pt x="3563069" y="974948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араллелограмм 14">
            <a:extLst>
              <a:ext uri="{FF2B5EF4-FFF2-40B4-BE49-F238E27FC236}">
                <a16:creationId xmlns:a16="http://schemas.microsoft.com/office/drawing/2014/main" id="{31F734ED-68BC-42E0-8B68-128A5E70D998}"/>
              </a:ext>
            </a:extLst>
          </p:cNvPr>
          <p:cNvSpPr/>
          <p:nvPr/>
        </p:nvSpPr>
        <p:spPr>
          <a:xfrm>
            <a:off x="116302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Полилиния: фигура 34">
            <a:extLst>
              <a:ext uri="{FF2B5EF4-FFF2-40B4-BE49-F238E27FC236}">
                <a16:creationId xmlns:a16="http://schemas.microsoft.com/office/drawing/2014/main" id="{9725B0E4-7EE0-4DAD-9228-52E5FF35C598}"/>
              </a:ext>
            </a:extLst>
          </p:cNvPr>
          <p:cNvSpPr/>
          <p:nvPr/>
        </p:nvSpPr>
        <p:spPr>
          <a:xfrm>
            <a:off x="0" y="3423086"/>
            <a:ext cx="3566290" cy="3434914"/>
          </a:xfrm>
          <a:custGeom>
            <a:avLst/>
            <a:gdLst>
              <a:gd name="connsiteX0" fmla="*/ 2369586 w 3566290"/>
              <a:gd name="connsiteY0" fmla="*/ 0 h 3434914"/>
              <a:gd name="connsiteX1" fmla="*/ 3566290 w 3566290"/>
              <a:gd name="connsiteY1" fmla="*/ 0 h 3434914"/>
              <a:gd name="connsiteX2" fmla="*/ 262074 w 3566290"/>
              <a:gd name="connsiteY2" fmla="*/ 3434914 h 3434914"/>
              <a:gd name="connsiteX3" fmla="*/ 0 w 3566290"/>
              <a:gd name="connsiteY3" fmla="*/ 3434914 h 3434914"/>
              <a:gd name="connsiteX4" fmla="*/ 0 w 3566290"/>
              <a:gd name="connsiteY4" fmla="*/ 246331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6290" h="3434914">
                <a:moveTo>
                  <a:pt x="2369586" y="0"/>
                </a:moveTo>
                <a:lnTo>
                  <a:pt x="3566290" y="0"/>
                </a:lnTo>
                <a:lnTo>
                  <a:pt x="262074" y="3434914"/>
                </a:lnTo>
                <a:lnTo>
                  <a:pt x="0" y="3434914"/>
                </a:lnTo>
                <a:lnTo>
                  <a:pt x="0" y="2463315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id="{06D2A420-D43F-40FC-9401-D5154F54DB05}"/>
              </a:ext>
            </a:extLst>
          </p:cNvPr>
          <p:cNvSpPr/>
          <p:nvPr/>
        </p:nvSpPr>
        <p:spPr>
          <a:xfrm>
            <a:off x="1" y="0"/>
            <a:ext cx="3453117" cy="3434914"/>
          </a:xfrm>
          <a:custGeom>
            <a:avLst/>
            <a:gdLst>
              <a:gd name="connsiteX0" fmla="*/ 2256413 w 3453117"/>
              <a:gd name="connsiteY0" fmla="*/ 0 h 3434914"/>
              <a:gd name="connsiteX1" fmla="*/ 3453117 w 3453117"/>
              <a:gd name="connsiteY1" fmla="*/ 0 h 3434914"/>
              <a:gd name="connsiteX2" fmla="*/ 148901 w 3453117"/>
              <a:gd name="connsiteY2" fmla="*/ 3434914 h 3434914"/>
              <a:gd name="connsiteX3" fmla="*/ 0 w 3453117"/>
              <a:gd name="connsiteY3" fmla="*/ 3434914 h 3434914"/>
              <a:gd name="connsiteX4" fmla="*/ 0 w 3453117"/>
              <a:gd name="connsiteY4" fmla="*/ 234566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3117" h="3434914">
                <a:moveTo>
                  <a:pt x="2256413" y="0"/>
                </a:moveTo>
                <a:lnTo>
                  <a:pt x="3453117" y="0"/>
                </a:lnTo>
                <a:lnTo>
                  <a:pt x="148901" y="3434914"/>
                </a:lnTo>
                <a:lnTo>
                  <a:pt x="0" y="3434914"/>
                </a:lnTo>
                <a:lnTo>
                  <a:pt x="0" y="2345665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Полилиния: фигура 31">
            <a:extLst>
              <a:ext uri="{FF2B5EF4-FFF2-40B4-BE49-F238E27FC236}">
                <a16:creationId xmlns:a16="http://schemas.microsoft.com/office/drawing/2014/main" id="{C2D606E4-CD58-4A76-ADB5-52BB86319F80}"/>
              </a:ext>
            </a:extLst>
          </p:cNvPr>
          <p:cNvSpPr/>
          <p:nvPr/>
        </p:nvSpPr>
        <p:spPr>
          <a:xfrm>
            <a:off x="1" y="3423087"/>
            <a:ext cx="1355463" cy="1409079"/>
          </a:xfrm>
          <a:custGeom>
            <a:avLst/>
            <a:gdLst>
              <a:gd name="connsiteX0" fmla="*/ 158759 w 1355463"/>
              <a:gd name="connsiteY0" fmla="*/ 0 h 1409079"/>
              <a:gd name="connsiteX1" fmla="*/ 1355463 w 1355463"/>
              <a:gd name="connsiteY1" fmla="*/ 0 h 1409079"/>
              <a:gd name="connsiteX2" fmla="*/ 0 w 1355463"/>
              <a:gd name="connsiteY2" fmla="*/ 1409079 h 1409079"/>
              <a:gd name="connsiteX3" fmla="*/ 0 w 1355463"/>
              <a:gd name="connsiteY3" fmla="*/ 165039 h 1409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5463" h="1409079">
                <a:moveTo>
                  <a:pt x="158759" y="0"/>
                </a:moveTo>
                <a:lnTo>
                  <a:pt x="1355463" y="0"/>
                </a:lnTo>
                <a:lnTo>
                  <a:pt x="0" y="1409079"/>
                </a:lnTo>
                <a:lnTo>
                  <a:pt x="0" y="165039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/>
              <a:t>Название раздела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4212095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59386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круговым паттерном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Дуга 18">
            <a:extLst>
              <a:ext uri="{FF2B5EF4-FFF2-40B4-BE49-F238E27FC236}">
                <a16:creationId xmlns:a16="http://schemas.microsoft.com/office/drawing/2014/main" id="{4DB44090-C67B-4CDA-B217-D2DD4B52282E}"/>
              </a:ext>
            </a:extLst>
          </p:cNvPr>
          <p:cNvSpPr/>
          <p:nvPr/>
        </p:nvSpPr>
        <p:spPr bwMode="auto">
          <a:xfrm rot="3600000">
            <a:off x="4181341" y="1527645"/>
            <a:ext cx="3788737" cy="3788737"/>
          </a:xfrm>
          <a:prstGeom prst="arc">
            <a:avLst>
              <a:gd name="adj1" fmla="val 12535448"/>
              <a:gd name="adj2" fmla="val 5738127"/>
            </a:avLst>
          </a:prstGeom>
          <a:noFill/>
          <a:ln w="952500" cap="flat" cmpd="sng" algn="ctr"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Дуга 20">
            <a:extLst>
              <a:ext uri="{FF2B5EF4-FFF2-40B4-BE49-F238E27FC236}">
                <a16:creationId xmlns:a16="http://schemas.microsoft.com/office/drawing/2014/main" id="{DDABABAE-C084-488B-AB1F-4807DD67106D}"/>
              </a:ext>
            </a:extLst>
          </p:cNvPr>
          <p:cNvSpPr/>
          <p:nvPr/>
        </p:nvSpPr>
        <p:spPr bwMode="auto">
          <a:xfrm rot="3600000">
            <a:off x="3263679" y="596679"/>
            <a:ext cx="5664641" cy="5664641"/>
          </a:xfrm>
          <a:prstGeom prst="arc">
            <a:avLst>
              <a:gd name="adj1" fmla="val 7600294"/>
              <a:gd name="adj2" fmla="val 18090487"/>
            </a:avLst>
          </a:prstGeom>
          <a:noFill/>
          <a:ln w="952500" cap="flat" cmpd="sng" algn="ctr">
            <a:gradFill>
              <a:gsLst>
                <a:gs pos="100000">
                  <a:schemeClr val="accent2"/>
                </a:gs>
                <a:gs pos="14000">
                  <a:schemeClr val="accent2">
                    <a:lumMod val="7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Дуга 21">
            <a:extLst>
              <a:ext uri="{FF2B5EF4-FFF2-40B4-BE49-F238E27FC236}">
                <a16:creationId xmlns:a16="http://schemas.microsoft.com/office/drawing/2014/main" id="{E806DCA9-2C88-42F3-8A16-28C6BB63EFCA}"/>
              </a:ext>
            </a:extLst>
          </p:cNvPr>
          <p:cNvSpPr/>
          <p:nvPr/>
        </p:nvSpPr>
        <p:spPr bwMode="auto">
          <a:xfrm rot="3600000">
            <a:off x="2308029" y="-358971"/>
            <a:ext cx="7575942" cy="7575942"/>
          </a:xfrm>
          <a:prstGeom prst="arc">
            <a:avLst>
              <a:gd name="adj1" fmla="val 13279509"/>
              <a:gd name="adj2" fmla="val 21424019"/>
            </a:avLst>
          </a:prstGeom>
          <a:noFill/>
          <a:ln w="952500" cap="flat" cmpd="sng" algn="ctr">
            <a:gradFill>
              <a:gsLst>
                <a:gs pos="4500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Дуга 23">
            <a:extLst>
              <a:ext uri="{FF2B5EF4-FFF2-40B4-BE49-F238E27FC236}">
                <a16:creationId xmlns:a16="http://schemas.microsoft.com/office/drawing/2014/main" id="{C6B33325-73A3-424F-A577-F5C1CF382099}"/>
              </a:ext>
            </a:extLst>
          </p:cNvPr>
          <p:cNvSpPr/>
          <p:nvPr/>
        </p:nvSpPr>
        <p:spPr bwMode="auto">
          <a:xfrm rot="3600000">
            <a:off x="412319" y="-2254679"/>
            <a:ext cx="11367362" cy="11367360"/>
          </a:xfrm>
          <a:prstGeom prst="arc">
            <a:avLst>
              <a:gd name="adj1" fmla="val 4640343"/>
              <a:gd name="adj2" fmla="val 8874283"/>
            </a:avLst>
          </a:prstGeom>
          <a:noFill/>
          <a:ln w="952500" cap="flat" cmpd="sng" algn="ctr">
            <a:gradFill>
              <a:gsLst>
                <a:gs pos="100000">
                  <a:schemeClr val="accent2"/>
                </a:gs>
                <a:gs pos="0">
                  <a:schemeClr val="accent2">
                    <a:lumMod val="75000"/>
                  </a:schemeClr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Дуга 24">
            <a:extLst>
              <a:ext uri="{FF2B5EF4-FFF2-40B4-BE49-F238E27FC236}">
                <a16:creationId xmlns:a16="http://schemas.microsoft.com/office/drawing/2014/main" id="{2A932059-F943-480E-BA02-956B34060D1A}"/>
              </a:ext>
            </a:extLst>
          </p:cNvPr>
          <p:cNvSpPr/>
          <p:nvPr/>
        </p:nvSpPr>
        <p:spPr bwMode="auto">
          <a:xfrm rot="3600000">
            <a:off x="1337742" y="-1329258"/>
            <a:ext cx="9516517" cy="9516517"/>
          </a:xfrm>
          <a:prstGeom prst="arc">
            <a:avLst>
              <a:gd name="adj1" fmla="val 2616407"/>
              <a:gd name="adj2" fmla="val 12612573"/>
            </a:avLst>
          </a:prstGeom>
          <a:noFill/>
          <a:ln w="9525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Дуга 26">
            <a:extLst>
              <a:ext uri="{FF2B5EF4-FFF2-40B4-BE49-F238E27FC236}">
                <a16:creationId xmlns:a16="http://schemas.microsoft.com/office/drawing/2014/main" id="{259E656F-7DF7-4302-83B1-89FF45131507}"/>
              </a:ext>
            </a:extLst>
          </p:cNvPr>
          <p:cNvSpPr/>
          <p:nvPr userDrawn="1"/>
        </p:nvSpPr>
        <p:spPr bwMode="auto">
          <a:xfrm rot="3600000">
            <a:off x="-590550" y="-3257550"/>
            <a:ext cx="13373100" cy="13373100"/>
          </a:xfrm>
          <a:prstGeom prst="arc">
            <a:avLst>
              <a:gd name="adj1" fmla="val 9878533"/>
              <a:gd name="adj2" fmla="val 20724111"/>
            </a:avLst>
          </a:prstGeom>
          <a:noFill/>
          <a:ln w="9525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/>
              <a:t>Название раздела</a:t>
            </a:r>
            <a:br>
              <a:rPr lang="ru-RU"/>
            </a:br>
            <a:r>
              <a:rPr lang="ru-RU"/>
              <a:t>в несколько стр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953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0"/>
            <a:ext cx="5015880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D3C38CB1-3CDA-4BA0-A85D-19817FD27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3472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4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28554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ользовательский макет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30" name="Прямая соединительная линия 9">
            <a:extLst>
              <a:ext uri="{FF2B5EF4-FFF2-40B4-BE49-F238E27FC236}">
                <a16:creationId xmlns:a16="http://schemas.microsoft.com/office/drawing/2014/main" id="{8F4FE799-1569-445B-A49F-10F0A429BC4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3863158-CE6B-4333-BB35-9848BA3996BF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>
                <a:solidFill>
                  <a:schemeClr val="bg1"/>
                </a:solidFill>
              </a:rPr>
            </a:br>
            <a:r>
              <a:rPr lang="ru-RU" sz="500">
                <a:solidFill>
                  <a:schemeClr val="bg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83423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говая 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4A61B867-AAAA-4DAF-8D60-936029F21D1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291959" y="1956787"/>
            <a:ext cx="3642366" cy="3642366"/>
          </a:xfrm>
          <a:custGeom>
            <a:avLst/>
            <a:gdLst>
              <a:gd name="connsiteX0" fmla="*/ 858950 w 1717900"/>
              <a:gd name="connsiteY0" fmla="*/ 0 h 1717900"/>
              <a:gd name="connsiteX1" fmla="*/ 1717900 w 1717900"/>
              <a:gd name="connsiteY1" fmla="*/ 858950 h 1717900"/>
              <a:gd name="connsiteX2" fmla="*/ 858950 w 1717900"/>
              <a:gd name="connsiteY2" fmla="*/ 1717900 h 1717900"/>
              <a:gd name="connsiteX3" fmla="*/ 0 w 1717900"/>
              <a:gd name="connsiteY3" fmla="*/ 858950 h 1717900"/>
              <a:gd name="connsiteX4" fmla="*/ 858950 w 1717900"/>
              <a:gd name="connsiteY4" fmla="*/ 0 h 17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900" h="1717900">
                <a:moveTo>
                  <a:pt x="858950" y="0"/>
                </a:moveTo>
                <a:cubicBezTo>
                  <a:pt x="1333335" y="0"/>
                  <a:pt x="1717900" y="384565"/>
                  <a:pt x="1717900" y="858950"/>
                </a:cubicBezTo>
                <a:cubicBezTo>
                  <a:pt x="1717900" y="1333335"/>
                  <a:pt x="1333335" y="1717900"/>
                  <a:pt x="858950" y="1717900"/>
                </a:cubicBezTo>
                <a:cubicBezTo>
                  <a:pt x="384565" y="1717900"/>
                  <a:pt x="0" y="1333335"/>
                  <a:pt x="0" y="858950"/>
                </a:cubicBezTo>
                <a:cubicBezTo>
                  <a:pt x="0" y="384565"/>
                  <a:pt x="384565" y="0"/>
                  <a:pt x="8589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3425B92F-5C4B-4673-A604-90D9AD5F6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76BFD2CC-25DB-4092-A11F-B9D50400E2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6637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7768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88DE9282-0D71-476A-AF62-33B66104EA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20036" y="1089025"/>
            <a:ext cx="5351338" cy="5219700"/>
          </a:xfrm>
          <a:custGeom>
            <a:avLst/>
            <a:gdLst>
              <a:gd name="connsiteX0" fmla="*/ 0 w 4595874"/>
              <a:gd name="connsiteY0" fmla="*/ 0 h 5219700"/>
              <a:gd name="connsiteX1" fmla="*/ 4595874 w 4595874"/>
              <a:gd name="connsiteY1" fmla="*/ 0 h 5219700"/>
              <a:gd name="connsiteX2" fmla="*/ 4595874 w 4595874"/>
              <a:gd name="connsiteY2" fmla="*/ 5219700 h 5219700"/>
              <a:gd name="connsiteX3" fmla="*/ 0 w 4595874"/>
              <a:gd name="connsiteY3" fmla="*/ 5219700 h 521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95874" h="5219700">
                <a:moveTo>
                  <a:pt x="0" y="0"/>
                </a:moveTo>
                <a:lnTo>
                  <a:pt x="4595874" y="0"/>
                </a:lnTo>
                <a:lnTo>
                  <a:pt x="4595874" y="5219700"/>
                </a:lnTo>
                <a:lnTo>
                  <a:pt x="0" y="5219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8727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 диагональной суперграфикой синий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8F4C8739-0D64-4D24-9292-4DA86A346971}"/>
              </a:ext>
            </a:extLst>
          </p:cNvPr>
          <p:cNvGrpSpPr/>
          <p:nvPr userDrawn="1"/>
        </p:nvGrpSpPr>
        <p:grpSpPr>
          <a:xfrm>
            <a:off x="7717485" y="-1409700"/>
            <a:ext cx="7898715" cy="8267700"/>
            <a:chOff x="7717485" y="-1409700"/>
            <a:chExt cx="7898715" cy="8267700"/>
          </a:xfrm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0A7705CA-8C8A-4C11-8D88-32DCA6E8700D}"/>
                </a:ext>
              </a:extLst>
            </p:cNvPr>
            <p:cNvSpPr/>
            <p:nvPr/>
          </p:nvSpPr>
          <p:spPr>
            <a:xfrm>
              <a:off x="11107241" y="-1409700"/>
              <a:ext cx="4508959" cy="3757209"/>
            </a:xfrm>
            <a:custGeom>
              <a:avLst/>
              <a:gdLst>
                <a:gd name="connsiteX0" fmla="*/ 3116580 w 3740150"/>
                <a:gd name="connsiteY0" fmla="*/ 0 h 3116579"/>
                <a:gd name="connsiteX1" fmla="*/ 0 w 3740150"/>
                <a:gd name="connsiteY1" fmla="*/ 3116580 h 3116579"/>
                <a:gd name="connsiteX2" fmla="*/ 623570 w 3740150"/>
                <a:gd name="connsiteY2" fmla="*/ 3116580 h 3116579"/>
                <a:gd name="connsiteX3" fmla="*/ 3740150 w 3740150"/>
                <a:gd name="connsiteY3" fmla="*/ 0 h 311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0150" h="3116579">
                  <a:moveTo>
                    <a:pt x="3116580" y="0"/>
                  </a:moveTo>
                  <a:lnTo>
                    <a:pt x="0" y="3116580"/>
                  </a:lnTo>
                  <a:lnTo>
                    <a:pt x="623570" y="3116580"/>
                  </a:lnTo>
                  <a:lnTo>
                    <a:pt x="3740150" y="0"/>
                  </a:lnTo>
                  <a:close/>
                </a:path>
              </a:pathLst>
            </a:custGeom>
            <a:gradFill>
              <a:gsLst>
                <a:gs pos="0">
                  <a:schemeClr val="accent2">
                    <a:lumMod val="75000"/>
                    <a:alpha val="0"/>
                  </a:schemeClr>
                </a:gs>
                <a:gs pos="100000">
                  <a:schemeClr val="accent2">
                    <a:lumMod val="75000"/>
                    <a:alpha val="39000"/>
                  </a:schemeClr>
                </a:gs>
              </a:gsLst>
              <a:lin ang="5400000" scaled="1"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E9EB22CF-CA57-4EC6-9C31-3BC2BD0507AD}"/>
                </a:ext>
              </a:extLst>
            </p:cNvPr>
            <p:cNvSpPr/>
            <p:nvPr/>
          </p:nvSpPr>
          <p:spPr>
            <a:xfrm>
              <a:off x="9603745" y="-1409700"/>
              <a:ext cx="4508959" cy="3757209"/>
            </a:xfrm>
            <a:custGeom>
              <a:avLst/>
              <a:gdLst>
                <a:gd name="connsiteX0" fmla="*/ 3116580 w 3740150"/>
                <a:gd name="connsiteY0" fmla="*/ 0 h 3116579"/>
                <a:gd name="connsiteX1" fmla="*/ 0 w 3740150"/>
                <a:gd name="connsiteY1" fmla="*/ 3116580 h 3116579"/>
                <a:gd name="connsiteX2" fmla="*/ 623570 w 3740150"/>
                <a:gd name="connsiteY2" fmla="*/ 3116580 h 3116579"/>
                <a:gd name="connsiteX3" fmla="*/ 3740150 w 3740150"/>
                <a:gd name="connsiteY3" fmla="*/ 0 h 311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0150" h="3116579">
                  <a:moveTo>
                    <a:pt x="3116580" y="0"/>
                  </a:moveTo>
                  <a:lnTo>
                    <a:pt x="0" y="3116580"/>
                  </a:lnTo>
                  <a:lnTo>
                    <a:pt x="623570" y="3116580"/>
                  </a:lnTo>
                  <a:lnTo>
                    <a:pt x="3740150" y="0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18900000" scaled="1"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EE2853F8-94FB-4300-90C2-C82956DE92A4}"/>
                </a:ext>
              </a:extLst>
            </p:cNvPr>
            <p:cNvSpPr/>
            <p:nvPr/>
          </p:nvSpPr>
          <p:spPr>
            <a:xfrm>
              <a:off x="8100248" y="4978629"/>
              <a:ext cx="2631118" cy="1879371"/>
            </a:xfrm>
            <a:custGeom>
              <a:avLst/>
              <a:gdLst>
                <a:gd name="connsiteX0" fmla="*/ 1558925 w 2182494"/>
                <a:gd name="connsiteY0" fmla="*/ 0 h 1558925"/>
                <a:gd name="connsiteX1" fmla="*/ 0 w 2182494"/>
                <a:gd name="connsiteY1" fmla="*/ 1558925 h 1558925"/>
                <a:gd name="connsiteX2" fmla="*/ 623570 w 2182494"/>
                <a:gd name="connsiteY2" fmla="*/ 1558925 h 1558925"/>
                <a:gd name="connsiteX3" fmla="*/ 2182495 w 2182494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494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2495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0">
                  <a:schemeClr val="bg1">
                    <a:alpha val="27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D62CB5CA-EAF9-446B-8EC4-BE78F12F17F1}"/>
                </a:ext>
              </a:extLst>
            </p:cNvPr>
            <p:cNvSpPr/>
            <p:nvPr/>
          </p:nvSpPr>
          <p:spPr>
            <a:xfrm>
              <a:off x="7717485" y="4978629"/>
              <a:ext cx="6889" cy="6890"/>
            </a:xfrm>
            <a:custGeom>
              <a:avLst/>
              <a:gdLst>
                <a:gd name="connsiteX0" fmla="*/ 0 w 5714"/>
                <a:gd name="connsiteY0" fmla="*/ 0 h 5715"/>
                <a:gd name="connsiteX1" fmla="*/ 0 w 5714"/>
                <a:gd name="connsiteY1" fmla="*/ 5715 h 5715"/>
                <a:gd name="connsiteX2" fmla="*/ 5715 w 5714"/>
                <a:gd name="connsiteY2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" h="5715">
                  <a:moveTo>
                    <a:pt x="0" y="0"/>
                  </a:moveTo>
                  <a:lnTo>
                    <a:pt x="0" y="5715"/>
                  </a:lnTo>
                  <a:lnTo>
                    <a:pt x="5715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00CA567-3944-4ABA-A6C7-2FB6947F548D}"/>
                </a:ext>
              </a:extLst>
            </p:cNvPr>
            <p:cNvSpPr/>
            <p:nvPr/>
          </p:nvSpPr>
          <p:spPr>
            <a:xfrm>
              <a:off x="9603745" y="4978629"/>
              <a:ext cx="2630352" cy="1879371"/>
            </a:xfrm>
            <a:custGeom>
              <a:avLst/>
              <a:gdLst>
                <a:gd name="connsiteX0" fmla="*/ 1558925 w 2181859"/>
                <a:gd name="connsiteY0" fmla="*/ 0 h 1558925"/>
                <a:gd name="connsiteX1" fmla="*/ 0 w 2181859"/>
                <a:gd name="connsiteY1" fmla="*/ 1558925 h 1558925"/>
                <a:gd name="connsiteX2" fmla="*/ 623570 w 2181859"/>
                <a:gd name="connsiteY2" fmla="*/ 1558925 h 1558925"/>
                <a:gd name="connsiteX3" fmla="*/ 2181860 w 2181859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1859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1860" y="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0">
                  <a:schemeClr val="bg1">
                    <a:alpha val="27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C7981DD3-0670-4919-B3C1-523E67D2ED97}"/>
                </a:ext>
              </a:extLst>
            </p:cNvPr>
            <p:cNvSpPr/>
            <p:nvPr/>
          </p:nvSpPr>
          <p:spPr>
            <a:xfrm>
              <a:off x="10731367" y="2347509"/>
              <a:ext cx="3382101" cy="2631119"/>
            </a:xfrm>
            <a:custGeom>
              <a:avLst/>
              <a:gdLst>
                <a:gd name="connsiteX0" fmla="*/ 2181860 w 2805429"/>
                <a:gd name="connsiteY0" fmla="*/ 0 h 2182495"/>
                <a:gd name="connsiteX1" fmla="*/ 0 w 2805429"/>
                <a:gd name="connsiteY1" fmla="*/ 2182495 h 2182495"/>
                <a:gd name="connsiteX2" fmla="*/ 623570 w 2805429"/>
                <a:gd name="connsiteY2" fmla="*/ 2182495 h 2182495"/>
                <a:gd name="connsiteX3" fmla="*/ 2805430 w 2805429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5429" h="2182495">
                  <a:moveTo>
                    <a:pt x="2181860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5430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50B0CEB-6342-4EE6-B2EB-1DDDC71FC0D5}"/>
                </a:ext>
              </a:extLst>
            </p:cNvPr>
            <p:cNvSpPr/>
            <p:nvPr/>
          </p:nvSpPr>
          <p:spPr>
            <a:xfrm>
              <a:off x="7724375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gradFill flip="none" rotWithShape="1">
              <a:gsLst>
                <a:gs pos="73000">
                  <a:srgbClr val="FFFFFF">
                    <a:alpha val="19000"/>
                  </a:srgbClr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67000"/>
                  </a:schemeClr>
                </a:gs>
              </a:gsLst>
              <a:lin ang="21000000" scaled="0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3199B1E9-72E3-4CB4-9688-694170FD6D49}"/>
                </a:ext>
              </a:extLst>
            </p:cNvPr>
            <p:cNvSpPr/>
            <p:nvPr/>
          </p:nvSpPr>
          <p:spPr>
            <a:xfrm>
              <a:off x="9207200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16" name="Graphic 17">
            <a:extLst>
              <a:ext uri="{FF2B5EF4-FFF2-40B4-BE49-F238E27FC236}">
                <a16:creationId xmlns:a16="http://schemas.microsoft.com/office/drawing/2014/main" id="{67E33C7A-8A8F-4E25-8819-7C6CF003FD43}"/>
              </a:ext>
            </a:extLst>
          </p:cNvPr>
          <p:cNvSpPr/>
          <p:nvPr/>
        </p:nvSpPr>
        <p:spPr>
          <a:xfrm>
            <a:off x="426123" y="4553400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7" name="Graphic 5">
            <a:extLst>
              <a:ext uri="{FF2B5EF4-FFF2-40B4-BE49-F238E27FC236}">
                <a16:creationId xmlns:a16="http://schemas.microsoft.com/office/drawing/2014/main" id="{C9A8D45A-D37B-427B-97A6-183FFB1D0441}"/>
              </a:ext>
            </a:extLst>
          </p:cNvPr>
          <p:cNvGrpSpPr/>
          <p:nvPr/>
        </p:nvGrpSpPr>
        <p:grpSpPr>
          <a:xfrm>
            <a:off x="423152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8E031E6C-12E6-45FA-BDE0-D6839526AF2F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9B0ECB36-E663-4C7D-955E-7F36BA6A9466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A236534E-4284-4B52-9411-765C71112A20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EDC830DE-9C9F-4DA6-B305-ABB92B679232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D2B539FE-4D14-41C5-AA98-69B20130DC16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B8FC65B9-23ED-4CAB-8671-D246BD6E31F7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" name="Рисунок 3">
            <a:extLst>
              <a:ext uri="{FF2B5EF4-FFF2-40B4-BE49-F238E27FC236}">
                <a16:creationId xmlns:a16="http://schemas.microsoft.com/office/drawing/2014/main" id="{59AA230A-D536-48A4-A32C-64AF315C7753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26F4950B-7B67-43CE-A3F3-B0D1BC9D29EE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E0E34D99-3388-4749-929E-06366D402E7C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093724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705B174-2BCB-475F-B5F7-2AC86EA893A5}"/>
              </a:ext>
            </a:extLst>
          </p:cNvPr>
          <p:cNvSpPr/>
          <p:nvPr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id="{0279107F-963C-4D85-BC66-580B5F59AE9D}"/>
              </a:ext>
            </a:extLst>
          </p:cNvPr>
          <p:cNvSpPr/>
          <p:nvPr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5E0FE2BA-B08F-41AC-B695-558ED857DAAF}"/>
              </a:ext>
            </a:extLst>
          </p:cNvPr>
          <p:cNvSpPr/>
          <p:nvPr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F54BF84A-3A49-46E7-BBCD-BB696C95E90B}"/>
              </a:ext>
            </a:extLst>
          </p:cNvPr>
          <p:cNvSpPr/>
          <p:nvPr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accent2">
                  <a:alpha val="0"/>
                </a:schemeClr>
              </a:gs>
              <a:gs pos="67200">
                <a:srgbClr val="002F6C">
                  <a:alpha val="26000"/>
                </a:srgbClr>
              </a:gs>
              <a:gs pos="100000">
                <a:schemeClr val="accent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E9AB1E05-C0C5-4FDD-B60D-054B6347BF52}"/>
              </a:ext>
            </a:extLst>
          </p:cNvPr>
          <p:cNvSpPr/>
          <p:nvPr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4A30386-E577-43D2-B52B-1B7FBAD6C03D}"/>
              </a:ext>
            </a:extLst>
          </p:cNvPr>
          <p:cNvSpPr/>
          <p:nvPr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id="{7EDCF66B-6839-42A8-8548-EEB6D7A54DD9}"/>
              </a:ext>
            </a:extLst>
          </p:cNvPr>
          <p:cNvSpPr/>
          <p:nvPr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9E8F511C-6A5E-4D3B-B61B-7480067C96BF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id="{18D1C764-45FD-4989-8FCD-7756DC96AC35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230A1D29-FF65-4E2B-95A0-CFD924F1F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810048"/>
            <a:ext cx="6079898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4145372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7404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98628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8800209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88DE9282-0D71-476A-AF62-33B66104EA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20036" y="1089025"/>
            <a:ext cx="5351338" cy="5219700"/>
          </a:xfrm>
          <a:custGeom>
            <a:avLst/>
            <a:gdLst>
              <a:gd name="connsiteX0" fmla="*/ 0 w 4595874"/>
              <a:gd name="connsiteY0" fmla="*/ 0 h 5219700"/>
              <a:gd name="connsiteX1" fmla="*/ 4595874 w 4595874"/>
              <a:gd name="connsiteY1" fmla="*/ 0 h 5219700"/>
              <a:gd name="connsiteX2" fmla="*/ 4595874 w 4595874"/>
              <a:gd name="connsiteY2" fmla="*/ 5219700 h 5219700"/>
              <a:gd name="connsiteX3" fmla="*/ 0 w 4595874"/>
              <a:gd name="connsiteY3" fmla="*/ 5219700 h 521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95874" h="5219700">
                <a:moveTo>
                  <a:pt x="0" y="0"/>
                </a:moveTo>
                <a:lnTo>
                  <a:pt x="4595874" y="0"/>
                </a:lnTo>
                <a:lnTo>
                  <a:pt x="4595874" y="5219700"/>
                </a:lnTo>
                <a:lnTo>
                  <a:pt x="0" y="52197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73888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0DFAEB1-2ED2-439A-8852-3B5C198096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92542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82757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73948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Фото снизу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69F1000-9498-4503-8A1B-A9F2F74796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9085AE4E-EB34-48C8-AEB3-FB178CC5D652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86000">
                <a:schemeClr val="tx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54C8E9FF-1179-4A71-BA7A-F9962932E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6" y="3408220"/>
            <a:ext cx="12192000" cy="3449781"/>
          </a:xfrm>
          <a:custGeom>
            <a:avLst/>
            <a:gdLst>
              <a:gd name="connsiteX0" fmla="*/ 0 w 12192000"/>
              <a:gd name="connsiteY0" fmla="*/ 0 h 3449781"/>
              <a:gd name="connsiteX1" fmla="*/ 12192000 w 12192000"/>
              <a:gd name="connsiteY1" fmla="*/ 0 h 3449781"/>
              <a:gd name="connsiteX2" fmla="*/ 12192000 w 12192000"/>
              <a:gd name="connsiteY2" fmla="*/ 3449781 h 3449781"/>
              <a:gd name="connsiteX3" fmla="*/ 0 w 12192000"/>
              <a:gd name="connsiteY3" fmla="*/ 3449781 h 344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49781">
                <a:moveTo>
                  <a:pt x="0" y="0"/>
                </a:moveTo>
                <a:lnTo>
                  <a:pt x="12192000" y="0"/>
                </a:lnTo>
                <a:lnTo>
                  <a:pt x="12192000" y="3449781"/>
                </a:lnTo>
                <a:lnTo>
                  <a:pt x="0" y="3449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49581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36183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2"/>
          </p:nvPr>
        </p:nvSpPr>
        <p:spPr>
          <a:xfrm>
            <a:off x="6096000" y="1604211"/>
            <a:ext cx="2774950" cy="2286752"/>
          </a:xfrm>
        </p:spPr>
        <p:txBody>
          <a:bodyPr/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285340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1340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1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24070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2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86799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3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55504" y="1262903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4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1340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5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24070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7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86799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8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55504" y="3928409"/>
            <a:ext cx="675790" cy="67579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04792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55365" y="4783046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3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406141" y="4783046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4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62895" y="4783046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9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52938" y="126645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25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06141" y="1262904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6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62895" y="1262904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7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13671" y="1262904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8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5365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9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6141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0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62895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1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3671" y="3025963"/>
            <a:ext cx="565896" cy="565896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759527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54749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29364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9386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6117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54749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29364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3313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1032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5400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604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во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925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2976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3752273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3864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7471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900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8436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A6239A19-9FAE-47A0-A477-EB1B77BF90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194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99E91E2D-3933-4E87-80A8-CF51895002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233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5AFA9D99-37C6-4CD3-B18D-2C7C47D2DB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75538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62C57C21-789C-4730-8529-0A92398E04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38741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1879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2290CE11-5240-42EA-BEE4-E19D7FE72B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310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E28F290B-8157-4FA7-81FC-055AFF55DE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84633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1910196-5F21-43B3-B9EA-9A786B910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9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0989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аленьк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7247B4CC-3E48-4A84-ABFD-5C8B1B8326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8546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FB2AA0CA-2D15-4343-89C4-52DC555FE6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7989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E56FC753-0B69-49EA-A82C-5DE0D7689F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673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3D1015E6-0C62-4573-AAC4-989A7E0CF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34146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8221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94BFC336-5EDD-43A3-A172-69C55F21C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7036E895-99CC-4BCE-A997-EBA227FE1B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id="{9178C993-2B33-4D2D-A01C-29320624F1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6" name="Текст 26">
            <a:extLst>
              <a:ext uri="{FF2B5EF4-FFF2-40B4-BE49-F238E27FC236}">
                <a16:creationId xmlns:a16="http://schemas.microsoft.com/office/drawing/2014/main" id="{618AF164-F755-4509-892D-5E791A82C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2298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" name="Graphic 17">
            <a:extLst>
              <a:ext uri="{FF2B5EF4-FFF2-40B4-BE49-F238E27FC236}">
                <a16:creationId xmlns:a16="http://schemas.microsoft.com/office/drawing/2014/main" id="{21860EE9-1D54-4890-BA25-82EEE1F55E4A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id="{940A7D6B-F4CD-4576-86E4-E1C99C335543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C17ABBDE-9098-4E13-93C4-6EA0D26307C6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66A9EE89-8C3A-423A-ABDC-D8800BA31A9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735B3712-F974-4981-9980-5F3243B30584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1095F3B0-1BD1-4667-87B5-A35C4D41C253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9C5A9DE7-A60C-4196-AC48-B355C45E6A0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2F4691E6-C1B7-4BC9-B963-6B9B0123D370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0" name="Рисунок 3">
            <a:extLst>
              <a:ext uri="{FF2B5EF4-FFF2-40B4-BE49-F238E27FC236}">
                <a16:creationId xmlns:a16="http://schemas.microsoft.com/office/drawing/2014/main" id="{2F2F4649-E113-46A2-A922-0AB402B79B71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A6F896AC-7B12-408D-B367-3BC24C6C616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FB8E6E6E-A511-486E-97E5-EFDF6C0A3497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26053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паттерном и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7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29" name="Текст 26">
            <a:extLst>
              <a:ext uri="{FF2B5EF4-FFF2-40B4-BE49-F238E27FC236}">
                <a16:creationId xmlns:a16="http://schemas.microsoft.com/office/drawing/2014/main" id="{D643C23A-21DF-4A11-9613-BE047F65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30" name="Текст 26">
            <a:extLst>
              <a:ext uri="{FF2B5EF4-FFF2-40B4-BE49-F238E27FC236}">
                <a16:creationId xmlns:a16="http://schemas.microsoft.com/office/drawing/2014/main" id="{96C130DF-2DCF-4E01-A041-882E668D9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5" name="Graphic 17">
            <a:extLst>
              <a:ext uri="{FF2B5EF4-FFF2-40B4-BE49-F238E27FC236}">
                <a16:creationId xmlns:a16="http://schemas.microsoft.com/office/drawing/2014/main" id="{2C9AA463-E793-494A-8206-B6BED4BC2879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6" name="Graphic 5">
            <a:extLst>
              <a:ext uri="{FF2B5EF4-FFF2-40B4-BE49-F238E27FC236}">
                <a16:creationId xmlns:a16="http://schemas.microsoft.com/office/drawing/2014/main" id="{67FF1BB9-87BE-4A1D-B320-4EF231DE6EFB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FFFF"/>
          </a:solidFill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23D8B1EB-8596-431D-8D9A-1E4B16C050B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0E54E79B-34B5-4ACE-9864-B09062E0F846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AFF14E2A-6863-4FC2-88BF-0D7CD8AB46D3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6B25209E-9B8B-4CC4-A8C2-9BA9F90E7A15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47414B1A-F017-42D7-BA9D-3977DF66EB44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E60B1359-FD5A-4C91-BF42-2AAD0AC0E2D2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0" name="Рисунок 3">
            <a:extLst>
              <a:ext uri="{FF2B5EF4-FFF2-40B4-BE49-F238E27FC236}">
                <a16:creationId xmlns:a16="http://schemas.microsoft.com/office/drawing/2014/main" id="{796F7482-ACAC-4331-82B9-4FCDE6CEA818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B05820C6-6480-429C-ADB3-B257A34A332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3D8A3611-8CA8-47F8-B062-EAB6C9F14EE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84681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id="{C6420719-76EA-45F3-B4D3-EBCB4430D9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08094B0E-B9DC-41A9-8742-E62D5644B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705B174-2BCB-475F-B5F7-2AC86EA893A5}"/>
              </a:ext>
            </a:extLst>
          </p:cNvPr>
          <p:cNvSpPr/>
          <p:nvPr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id="{0279107F-963C-4D85-BC66-580B5F59AE9D}"/>
              </a:ext>
            </a:extLst>
          </p:cNvPr>
          <p:cNvSpPr/>
          <p:nvPr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5E0FE2BA-B08F-41AC-B695-558ED857DAAF}"/>
              </a:ext>
            </a:extLst>
          </p:cNvPr>
          <p:cNvSpPr/>
          <p:nvPr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F54BF84A-3A49-46E7-BBCD-BB696C95E90B}"/>
              </a:ext>
            </a:extLst>
          </p:cNvPr>
          <p:cNvSpPr/>
          <p:nvPr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tx2">
                  <a:alpha val="0"/>
                </a:schemeClr>
              </a:gs>
              <a:gs pos="67200">
                <a:schemeClr val="tx2">
                  <a:alpha val="26000"/>
                </a:schemeClr>
              </a:gs>
              <a:gs pos="100000">
                <a:schemeClr val="tx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E9AB1E05-C0C5-4FDD-B60D-054B6347BF52}"/>
              </a:ext>
            </a:extLst>
          </p:cNvPr>
          <p:cNvSpPr/>
          <p:nvPr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4A30386-E577-43D2-B52B-1B7FBAD6C03D}"/>
              </a:ext>
            </a:extLst>
          </p:cNvPr>
          <p:cNvSpPr/>
          <p:nvPr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id="{7EDCF66B-6839-42A8-8548-EEB6D7A54DD9}"/>
              </a:ext>
            </a:extLst>
          </p:cNvPr>
          <p:cNvSpPr/>
          <p:nvPr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9E8F511C-6A5E-4D3B-B61B-7480067C96BF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id="{18D1C764-45FD-4989-8FCD-7756DC96AC35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Graphic 17">
            <a:extLst>
              <a:ext uri="{FF2B5EF4-FFF2-40B4-BE49-F238E27FC236}">
                <a16:creationId xmlns:a16="http://schemas.microsoft.com/office/drawing/2014/main" id="{59EEFF78-1504-4AE7-B6D5-04ACF1E9B391}"/>
              </a:ext>
            </a:extLst>
          </p:cNvPr>
          <p:cNvSpPr/>
          <p:nvPr/>
        </p:nvSpPr>
        <p:spPr>
          <a:xfrm>
            <a:off x="426123" y="5552208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0000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id="{5514F9D7-2A08-456F-9B5F-67F89D711017}"/>
              </a:ext>
            </a:extLst>
          </p:cNvPr>
          <p:cNvGrpSpPr/>
          <p:nvPr/>
        </p:nvGrpSpPr>
        <p:grpSpPr>
          <a:xfrm>
            <a:off x="423152" y="5898188"/>
            <a:ext cx="192624" cy="192624"/>
            <a:chOff x="423152" y="5898188"/>
            <a:chExt cx="192624" cy="192624"/>
          </a:xfrm>
          <a:solidFill>
            <a:srgbClr val="FF0000"/>
          </a:solidFill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92534BBA-4A84-4D3F-AF56-65A58239D395}"/>
                </a:ext>
              </a:extLst>
            </p:cNvPr>
            <p:cNvSpPr/>
            <p:nvPr/>
          </p:nvSpPr>
          <p:spPr>
            <a:xfrm>
              <a:off x="423152" y="5898188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6D856C1F-4F92-42C6-818D-EEE7FD0BB2DA}"/>
                </a:ext>
              </a:extLst>
            </p:cNvPr>
            <p:cNvSpPr/>
            <p:nvPr/>
          </p:nvSpPr>
          <p:spPr>
            <a:xfrm>
              <a:off x="452058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7FE31231-E789-403C-9695-EAA16BCA6977}"/>
                </a:ext>
              </a:extLst>
            </p:cNvPr>
            <p:cNvSpPr/>
            <p:nvPr/>
          </p:nvSpPr>
          <p:spPr>
            <a:xfrm>
              <a:off x="500201" y="5975237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BB6D01F6-C28C-4B9E-9D35-26DF830359F2}"/>
                </a:ext>
              </a:extLst>
            </p:cNvPr>
            <p:cNvSpPr/>
            <p:nvPr/>
          </p:nvSpPr>
          <p:spPr>
            <a:xfrm>
              <a:off x="548344" y="5975237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4174E61F-94A9-49FA-8ADF-A592EDF2D0DE}"/>
                </a:ext>
              </a:extLst>
            </p:cNvPr>
            <p:cNvSpPr/>
            <p:nvPr/>
          </p:nvSpPr>
          <p:spPr>
            <a:xfrm>
              <a:off x="452058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3E7D2FFF-8B6A-4AB9-913D-1BA7ACDA9417}"/>
                </a:ext>
              </a:extLst>
            </p:cNvPr>
            <p:cNvSpPr/>
            <p:nvPr/>
          </p:nvSpPr>
          <p:spPr>
            <a:xfrm>
              <a:off x="500201" y="6023380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0000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" name="Рисунок 3">
            <a:extLst>
              <a:ext uri="{FF2B5EF4-FFF2-40B4-BE49-F238E27FC236}">
                <a16:creationId xmlns:a16="http://schemas.microsoft.com/office/drawing/2014/main" id="{95E10814-6BCB-4E14-8196-789EF29F61ED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F56024D7-85D0-4DF3-8542-B14975A64756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C7BA2C11-DFF4-4CBE-BE71-F952138F0C2F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7507708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кругов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круги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38308" y="-7941"/>
            <a:ext cx="3953692" cy="6873882"/>
          </a:xfrm>
          <a:prstGeom prst="rect">
            <a:avLst/>
          </a:prstGeom>
        </p:spPr>
      </p:pic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12" name="Рисунок 3">
            <a:extLst>
              <a:ext uri="{FF2B5EF4-FFF2-40B4-BE49-F238E27FC236}">
                <a16:creationId xmlns:a16="http://schemas.microsoft.com/office/drawing/2014/main" id="{4BB27A82-7F22-4222-A22D-FA7B60DB0BD1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E4317050-CCF5-4410-8430-E8859C5CCC40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7607EDB4-7BF6-4939-9872-037096793901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8327778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ение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DB8C6F4E-80AE-4CB3-82F3-E0629F85E98A}"/>
              </a:ext>
            </a:extLst>
          </p:cNvPr>
          <p:cNvSpPr/>
          <p:nvPr userDrawn="1"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Полилиния: фигура 2">
            <a:extLst>
              <a:ext uri="{FF2B5EF4-FFF2-40B4-BE49-F238E27FC236}">
                <a16:creationId xmlns:a16="http://schemas.microsoft.com/office/drawing/2014/main" id="{CB3A444A-E5F0-4FFD-9DC1-CD7FB326DAB6}"/>
              </a:ext>
            </a:extLst>
          </p:cNvPr>
          <p:cNvSpPr/>
          <p:nvPr userDrawn="1"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Полилиния: фигура 3">
            <a:extLst>
              <a:ext uri="{FF2B5EF4-FFF2-40B4-BE49-F238E27FC236}">
                <a16:creationId xmlns:a16="http://schemas.microsoft.com/office/drawing/2014/main" id="{8865A60B-ACD4-45F8-AF22-1F5B2DA9790D}"/>
              </a:ext>
            </a:extLst>
          </p:cNvPr>
          <p:cNvSpPr/>
          <p:nvPr userDrawn="1"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7836FD41-14BD-4C48-9332-1ED0825F86BF}"/>
              </a:ext>
            </a:extLst>
          </p:cNvPr>
          <p:cNvSpPr/>
          <p:nvPr userDrawn="1"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id="{18EA802B-A64D-4D87-B785-A9C1BBD630BE}"/>
              </a:ext>
            </a:extLst>
          </p:cNvPr>
          <p:cNvSpPr/>
          <p:nvPr userDrawn="1"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accent2">
                  <a:alpha val="0"/>
                </a:schemeClr>
              </a:gs>
              <a:gs pos="67200">
                <a:srgbClr val="002F6C">
                  <a:alpha val="26000"/>
                </a:srgbClr>
              </a:gs>
              <a:gs pos="100000">
                <a:schemeClr val="accent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Полилиния: фигура 6">
            <a:extLst>
              <a:ext uri="{FF2B5EF4-FFF2-40B4-BE49-F238E27FC236}">
                <a16:creationId xmlns:a16="http://schemas.microsoft.com/office/drawing/2014/main" id="{8565576C-67AB-4679-AB14-104440A43FD3}"/>
              </a:ext>
            </a:extLst>
          </p:cNvPr>
          <p:cNvSpPr/>
          <p:nvPr userDrawn="1"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DF96CDC5-1835-4B1A-B51F-B61DD3293AA9}"/>
              </a:ext>
            </a:extLst>
          </p:cNvPr>
          <p:cNvSpPr/>
          <p:nvPr userDrawn="1"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A9776F79-468B-44C6-8B11-6209C717CA67}"/>
              </a:ext>
            </a:extLst>
          </p:cNvPr>
          <p:cNvSpPr/>
          <p:nvPr userDrawn="1"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7C1924A7-5BBA-4DD5-9D00-1D7C79A565F0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id="{44E97757-9271-4211-9749-1E9D34CAD44F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16" name="Рисунок 3">
            <a:extLst>
              <a:ext uri="{FF2B5EF4-FFF2-40B4-BE49-F238E27FC236}">
                <a16:creationId xmlns:a16="http://schemas.microsoft.com/office/drawing/2014/main" id="{CFEA4D1A-3F71-4A32-A7A8-BA91FFD1618E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5F7F1DF6-FF97-47F0-8B08-D9A9E646B9D4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3B31A0BA-E63C-4C68-B9B2-5CE3C54C7953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66660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 сини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16" name="Graphic 17">
            <a:extLst>
              <a:ext uri="{FF2B5EF4-FFF2-40B4-BE49-F238E27FC236}">
                <a16:creationId xmlns:a16="http://schemas.microsoft.com/office/drawing/2014/main" id="{67E33C7A-8A8F-4E25-8819-7C6CF003FD43}"/>
              </a:ext>
            </a:extLst>
          </p:cNvPr>
          <p:cNvSpPr/>
          <p:nvPr/>
        </p:nvSpPr>
        <p:spPr>
          <a:xfrm>
            <a:off x="426123" y="4553400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7" name="Graphic 5">
            <a:extLst>
              <a:ext uri="{FF2B5EF4-FFF2-40B4-BE49-F238E27FC236}">
                <a16:creationId xmlns:a16="http://schemas.microsoft.com/office/drawing/2014/main" id="{C9A8D45A-D37B-427B-97A6-183FFB1D0441}"/>
              </a:ext>
            </a:extLst>
          </p:cNvPr>
          <p:cNvGrpSpPr/>
          <p:nvPr/>
        </p:nvGrpSpPr>
        <p:grpSpPr>
          <a:xfrm>
            <a:off x="423152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8E031E6C-12E6-45FA-BDE0-D6839526AF2F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9B0ECB36-E663-4C7D-955E-7F36BA6A9466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A236534E-4284-4B52-9411-765C71112A20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EDC830DE-9C9F-4DA6-B305-ABB92B679232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D2B539FE-4D14-41C5-AA98-69B20130DC16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B8FC65B9-23ED-4CAB-8671-D246BD6E31F7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6" name="Рисунок 3">
            <a:extLst>
              <a:ext uri="{FF2B5EF4-FFF2-40B4-BE49-F238E27FC236}">
                <a16:creationId xmlns:a16="http://schemas.microsoft.com/office/drawing/2014/main" id="{59AA230A-D536-48A4-A32C-64AF315C7753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26F4950B-7B67-43CE-A3F3-B0D1BC9D29EE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E0E34D99-3388-4749-929E-06366D402E7C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80954DCA-50B7-425B-AD94-499C9D0C5683}"/>
              </a:ext>
            </a:extLst>
          </p:cNvPr>
          <p:cNvGrpSpPr/>
          <p:nvPr userDrawn="1"/>
        </p:nvGrpSpPr>
        <p:grpSpPr>
          <a:xfrm>
            <a:off x="7717485" y="0"/>
            <a:ext cx="4516612" cy="6858000"/>
            <a:chOff x="7717485" y="0"/>
            <a:chExt cx="4516612" cy="6858000"/>
          </a:xfrm>
        </p:grpSpPr>
        <p:sp>
          <p:nvSpPr>
            <p:cNvPr id="41" name="Полилиния: фигура 15">
              <a:extLst>
                <a:ext uri="{FF2B5EF4-FFF2-40B4-BE49-F238E27FC236}">
                  <a16:creationId xmlns:a16="http://schemas.microsoft.com/office/drawing/2014/main" id="{1F9D04FD-05EC-421E-8EBE-BC24460CAF02}"/>
                </a:ext>
              </a:extLst>
            </p:cNvPr>
            <p:cNvSpPr/>
            <p:nvPr/>
          </p:nvSpPr>
          <p:spPr>
            <a:xfrm>
              <a:off x="11107241" y="1262752"/>
              <a:ext cx="1084759" cy="1084759"/>
            </a:xfrm>
            <a:custGeom>
              <a:avLst/>
              <a:gdLst>
                <a:gd name="connsiteX0" fmla="*/ 1084759 w 1084759"/>
                <a:gd name="connsiteY0" fmla="*/ 0 h 1084759"/>
                <a:gd name="connsiteX1" fmla="*/ 1084759 w 1084759"/>
                <a:gd name="connsiteY1" fmla="*/ 751748 h 1084759"/>
                <a:gd name="connsiteX2" fmla="*/ 751748 w 1084759"/>
                <a:gd name="connsiteY2" fmla="*/ 1084759 h 1084759"/>
                <a:gd name="connsiteX3" fmla="*/ 0 w 1084759"/>
                <a:gd name="connsiteY3" fmla="*/ 1084759 h 1084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759" h="1084759">
                  <a:moveTo>
                    <a:pt x="1084759" y="0"/>
                  </a:moveTo>
                  <a:lnTo>
                    <a:pt x="1084759" y="751748"/>
                  </a:lnTo>
                  <a:lnTo>
                    <a:pt x="751748" y="1084759"/>
                  </a:lnTo>
                  <a:lnTo>
                    <a:pt x="0" y="1084759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b="0" i="0" u="none" strike="noStrike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2" name="Полилиния: фигура 16">
              <a:extLst>
                <a:ext uri="{FF2B5EF4-FFF2-40B4-BE49-F238E27FC236}">
                  <a16:creationId xmlns:a16="http://schemas.microsoft.com/office/drawing/2014/main" id="{EB3AA24E-9782-494D-927F-25ABDA14ECB0}"/>
                </a:ext>
              </a:extLst>
            </p:cNvPr>
            <p:cNvSpPr/>
            <p:nvPr/>
          </p:nvSpPr>
          <p:spPr>
            <a:xfrm>
              <a:off x="9603745" y="0"/>
              <a:ext cx="2588255" cy="2347511"/>
            </a:xfrm>
            <a:custGeom>
              <a:avLst/>
              <a:gdLst>
                <a:gd name="connsiteX0" fmla="*/ 2347511 w 2588255"/>
                <a:gd name="connsiteY0" fmla="*/ 0 h 2347511"/>
                <a:gd name="connsiteX1" fmla="*/ 2588255 w 2588255"/>
                <a:gd name="connsiteY1" fmla="*/ 0 h 2347511"/>
                <a:gd name="connsiteX2" fmla="*/ 2588255 w 2588255"/>
                <a:gd name="connsiteY2" fmla="*/ 511004 h 2347511"/>
                <a:gd name="connsiteX3" fmla="*/ 751748 w 2588255"/>
                <a:gd name="connsiteY3" fmla="*/ 2347511 h 2347511"/>
                <a:gd name="connsiteX4" fmla="*/ 0 w 2588255"/>
                <a:gd name="connsiteY4" fmla="*/ 2347511 h 2347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88255" h="2347511">
                  <a:moveTo>
                    <a:pt x="2347511" y="0"/>
                  </a:moveTo>
                  <a:lnTo>
                    <a:pt x="2588255" y="0"/>
                  </a:lnTo>
                  <a:lnTo>
                    <a:pt x="2588255" y="511004"/>
                  </a:lnTo>
                  <a:lnTo>
                    <a:pt x="751748" y="2347511"/>
                  </a:lnTo>
                  <a:lnTo>
                    <a:pt x="0" y="2347511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100000">
                  <a:schemeClr val="bg1"/>
                </a:gs>
              </a:gsLst>
              <a:lin ang="18900000" scaled="1"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17">
              <a:extLst>
                <a:ext uri="{FF2B5EF4-FFF2-40B4-BE49-F238E27FC236}">
                  <a16:creationId xmlns:a16="http://schemas.microsoft.com/office/drawing/2014/main" id="{6DF5A6D3-B885-4CCF-B592-92A4F3DD1482}"/>
                </a:ext>
              </a:extLst>
            </p:cNvPr>
            <p:cNvSpPr/>
            <p:nvPr/>
          </p:nvSpPr>
          <p:spPr>
            <a:xfrm>
              <a:off x="8100248" y="4978629"/>
              <a:ext cx="2631118" cy="1879371"/>
            </a:xfrm>
            <a:custGeom>
              <a:avLst/>
              <a:gdLst>
                <a:gd name="connsiteX0" fmla="*/ 1558925 w 2182494"/>
                <a:gd name="connsiteY0" fmla="*/ 0 h 1558925"/>
                <a:gd name="connsiteX1" fmla="*/ 0 w 2182494"/>
                <a:gd name="connsiteY1" fmla="*/ 1558925 h 1558925"/>
                <a:gd name="connsiteX2" fmla="*/ 623570 w 2182494"/>
                <a:gd name="connsiteY2" fmla="*/ 1558925 h 1558925"/>
                <a:gd name="connsiteX3" fmla="*/ 2182495 w 2182494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494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24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Полилиния: фигура 18">
              <a:extLst>
                <a:ext uri="{FF2B5EF4-FFF2-40B4-BE49-F238E27FC236}">
                  <a16:creationId xmlns:a16="http://schemas.microsoft.com/office/drawing/2014/main" id="{3FB29626-E51C-4D87-B331-632573688CF5}"/>
                </a:ext>
              </a:extLst>
            </p:cNvPr>
            <p:cNvSpPr/>
            <p:nvPr/>
          </p:nvSpPr>
          <p:spPr>
            <a:xfrm>
              <a:off x="7717485" y="4978629"/>
              <a:ext cx="6889" cy="6890"/>
            </a:xfrm>
            <a:custGeom>
              <a:avLst/>
              <a:gdLst>
                <a:gd name="connsiteX0" fmla="*/ 0 w 5714"/>
                <a:gd name="connsiteY0" fmla="*/ 0 h 5715"/>
                <a:gd name="connsiteX1" fmla="*/ 0 w 5714"/>
                <a:gd name="connsiteY1" fmla="*/ 5715 h 5715"/>
                <a:gd name="connsiteX2" fmla="*/ 5715 w 5714"/>
                <a:gd name="connsiteY2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" h="5715">
                  <a:moveTo>
                    <a:pt x="0" y="0"/>
                  </a:moveTo>
                  <a:lnTo>
                    <a:pt x="0" y="5715"/>
                  </a:lnTo>
                  <a:lnTo>
                    <a:pt x="5715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Полилиния: фигура 19">
              <a:extLst>
                <a:ext uri="{FF2B5EF4-FFF2-40B4-BE49-F238E27FC236}">
                  <a16:creationId xmlns:a16="http://schemas.microsoft.com/office/drawing/2014/main" id="{062E36A0-B7D5-477A-82B1-D58136CDD873}"/>
                </a:ext>
              </a:extLst>
            </p:cNvPr>
            <p:cNvSpPr/>
            <p:nvPr/>
          </p:nvSpPr>
          <p:spPr>
            <a:xfrm>
              <a:off x="9603745" y="4978629"/>
              <a:ext cx="2630352" cy="1879371"/>
            </a:xfrm>
            <a:custGeom>
              <a:avLst/>
              <a:gdLst>
                <a:gd name="connsiteX0" fmla="*/ 1558925 w 2181859"/>
                <a:gd name="connsiteY0" fmla="*/ 0 h 1558925"/>
                <a:gd name="connsiteX1" fmla="*/ 0 w 2181859"/>
                <a:gd name="connsiteY1" fmla="*/ 1558925 h 1558925"/>
                <a:gd name="connsiteX2" fmla="*/ 623570 w 2181859"/>
                <a:gd name="connsiteY2" fmla="*/ 1558925 h 1558925"/>
                <a:gd name="connsiteX3" fmla="*/ 2181860 w 2181859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1859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186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Полилиния: фигура 20">
              <a:extLst>
                <a:ext uri="{FF2B5EF4-FFF2-40B4-BE49-F238E27FC236}">
                  <a16:creationId xmlns:a16="http://schemas.microsoft.com/office/drawing/2014/main" id="{139D6965-C597-435F-B6D4-25846A927C8B}"/>
                </a:ext>
              </a:extLst>
            </p:cNvPr>
            <p:cNvSpPr/>
            <p:nvPr/>
          </p:nvSpPr>
          <p:spPr>
            <a:xfrm>
              <a:off x="10731367" y="3517570"/>
              <a:ext cx="1460633" cy="1461058"/>
            </a:xfrm>
            <a:custGeom>
              <a:avLst/>
              <a:gdLst>
                <a:gd name="connsiteX0" fmla="*/ 1460633 w 1460633"/>
                <a:gd name="connsiteY0" fmla="*/ 0 h 1461058"/>
                <a:gd name="connsiteX1" fmla="*/ 1460633 w 1460633"/>
                <a:gd name="connsiteY1" fmla="*/ 751967 h 1461058"/>
                <a:gd name="connsiteX2" fmla="*/ 751748 w 1460633"/>
                <a:gd name="connsiteY2" fmla="*/ 1461058 h 1461058"/>
                <a:gd name="connsiteX3" fmla="*/ 0 w 1460633"/>
                <a:gd name="connsiteY3" fmla="*/ 1461058 h 1461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0633" h="1461058">
                  <a:moveTo>
                    <a:pt x="1460633" y="0"/>
                  </a:moveTo>
                  <a:lnTo>
                    <a:pt x="1460633" y="751967"/>
                  </a:lnTo>
                  <a:lnTo>
                    <a:pt x="751748" y="1461058"/>
                  </a:lnTo>
                  <a:lnTo>
                    <a:pt x="0" y="1461058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Полилиния: фигура 21">
              <a:extLst>
                <a:ext uri="{FF2B5EF4-FFF2-40B4-BE49-F238E27FC236}">
                  <a16:creationId xmlns:a16="http://schemas.microsoft.com/office/drawing/2014/main" id="{A17D6506-F3EA-4216-99E2-EF7BF846F5D4}"/>
                </a:ext>
              </a:extLst>
            </p:cNvPr>
            <p:cNvSpPr/>
            <p:nvPr/>
          </p:nvSpPr>
          <p:spPr>
            <a:xfrm>
              <a:off x="7724375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Полилиния: фигура 22">
              <a:extLst>
                <a:ext uri="{FF2B5EF4-FFF2-40B4-BE49-F238E27FC236}">
                  <a16:creationId xmlns:a16="http://schemas.microsoft.com/office/drawing/2014/main" id="{47711E85-B407-4B48-89DE-FB283F80F9EF}"/>
                </a:ext>
              </a:extLst>
            </p:cNvPr>
            <p:cNvSpPr/>
            <p:nvPr/>
          </p:nvSpPr>
          <p:spPr>
            <a:xfrm>
              <a:off x="9235774" y="2352272"/>
              <a:ext cx="2958606" cy="2631119"/>
            </a:xfrm>
            <a:custGeom>
              <a:avLst/>
              <a:gdLst>
                <a:gd name="connsiteX0" fmla="*/ 2631119 w 2984800"/>
                <a:gd name="connsiteY0" fmla="*/ 0 h 2631119"/>
                <a:gd name="connsiteX1" fmla="*/ 2984800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84800"/>
                <a:gd name="connsiteY0" fmla="*/ 0 h 2631119"/>
                <a:gd name="connsiteX1" fmla="*/ 2951462 w 2984800"/>
                <a:gd name="connsiteY1" fmla="*/ 0 h 2631119"/>
                <a:gd name="connsiteX2" fmla="*/ 2984800 w 2984800"/>
                <a:gd name="connsiteY2" fmla="*/ 398067 h 2631119"/>
                <a:gd name="connsiteX3" fmla="*/ 751748 w 2984800"/>
                <a:gd name="connsiteY3" fmla="*/ 2631119 h 2631119"/>
                <a:gd name="connsiteX4" fmla="*/ 0 w 2984800"/>
                <a:gd name="connsiteY4" fmla="*/ 2631119 h 2631119"/>
                <a:gd name="connsiteX5" fmla="*/ 2631119 w 2984800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56225"/>
                <a:gd name="connsiteY0" fmla="*/ 0 h 2631119"/>
                <a:gd name="connsiteX1" fmla="*/ 2951462 w 2956225"/>
                <a:gd name="connsiteY1" fmla="*/ 0 h 2631119"/>
                <a:gd name="connsiteX2" fmla="*/ 2956225 w 2956225"/>
                <a:gd name="connsiteY2" fmla="*/ 429023 h 2631119"/>
                <a:gd name="connsiteX3" fmla="*/ 751748 w 2956225"/>
                <a:gd name="connsiteY3" fmla="*/ 2631119 h 2631119"/>
                <a:gd name="connsiteX4" fmla="*/ 0 w 2956225"/>
                <a:gd name="connsiteY4" fmla="*/ 2631119 h 2631119"/>
                <a:gd name="connsiteX5" fmla="*/ 2631119 w 2956225"/>
                <a:gd name="connsiteY5" fmla="*/ 0 h 2631119"/>
                <a:gd name="connsiteX0" fmla="*/ 2631119 w 2993531"/>
                <a:gd name="connsiteY0" fmla="*/ 0 h 2631119"/>
                <a:gd name="connsiteX1" fmla="*/ 2991943 w 2993531"/>
                <a:gd name="connsiteY1" fmla="*/ 0 h 2631119"/>
                <a:gd name="connsiteX2" fmla="*/ 2956225 w 2993531"/>
                <a:gd name="connsiteY2" fmla="*/ 429023 h 2631119"/>
                <a:gd name="connsiteX3" fmla="*/ 751748 w 2993531"/>
                <a:gd name="connsiteY3" fmla="*/ 2631119 h 2631119"/>
                <a:gd name="connsiteX4" fmla="*/ 0 w 2993531"/>
                <a:gd name="connsiteY4" fmla="*/ 2631119 h 2631119"/>
                <a:gd name="connsiteX5" fmla="*/ 2631119 w 2993531"/>
                <a:gd name="connsiteY5" fmla="*/ 0 h 2631119"/>
                <a:gd name="connsiteX0" fmla="*/ 2631119 w 2991943"/>
                <a:gd name="connsiteY0" fmla="*/ 0 h 2631119"/>
                <a:gd name="connsiteX1" fmla="*/ 2991943 w 2991943"/>
                <a:gd name="connsiteY1" fmla="*/ 0 h 2631119"/>
                <a:gd name="connsiteX2" fmla="*/ 2956225 w 2991943"/>
                <a:gd name="connsiteY2" fmla="*/ 429023 h 2631119"/>
                <a:gd name="connsiteX3" fmla="*/ 751748 w 2991943"/>
                <a:gd name="connsiteY3" fmla="*/ 2631119 h 2631119"/>
                <a:gd name="connsiteX4" fmla="*/ 0 w 2991943"/>
                <a:gd name="connsiteY4" fmla="*/ 2631119 h 2631119"/>
                <a:gd name="connsiteX5" fmla="*/ 2631119 w 2991943"/>
                <a:gd name="connsiteY5" fmla="*/ 0 h 2631119"/>
                <a:gd name="connsiteX0" fmla="*/ 2631119 w 2958606"/>
                <a:gd name="connsiteY0" fmla="*/ 0 h 2631119"/>
                <a:gd name="connsiteX1" fmla="*/ 2958606 w 2958606"/>
                <a:gd name="connsiteY1" fmla="*/ 0 h 2631119"/>
                <a:gd name="connsiteX2" fmla="*/ 2956225 w 2958606"/>
                <a:gd name="connsiteY2" fmla="*/ 429023 h 2631119"/>
                <a:gd name="connsiteX3" fmla="*/ 751748 w 2958606"/>
                <a:gd name="connsiteY3" fmla="*/ 2631119 h 2631119"/>
                <a:gd name="connsiteX4" fmla="*/ 0 w 2958606"/>
                <a:gd name="connsiteY4" fmla="*/ 2631119 h 2631119"/>
                <a:gd name="connsiteX5" fmla="*/ 2631119 w 2958606"/>
                <a:gd name="connsiteY5" fmla="*/ 0 h 2631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8606" h="2631119">
                  <a:moveTo>
                    <a:pt x="2631119" y="0"/>
                  </a:moveTo>
                  <a:lnTo>
                    <a:pt x="2958606" y="0"/>
                  </a:lnTo>
                  <a:cubicBezTo>
                    <a:pt x="2957812" y="143008"/>
                    <a:pt x="2957019" y="286015"/>
                    <a:pt x="2956225" y="429023"/>
                  </a:cubicBezTo>
                  <a:lnTo>
                    <a:pt x="751748" y="2631119"/>
                  </a:lnTo>
                  <a:lnTo>
                    <a:pt x="0" y="2631119"/>
                  </a:lnTo>
                  <a:lnTo>
                    <a:pt x="2631119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43298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5888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иний титул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7" name="Graphic 17">
            <a:extLst>
              <a:ext uri="{FF2B5EF4-FFF2-40B4-BE49-F238E27FC236}">
                <a16:creationId xmlns:a16="http://schemas.microsoft.com/office/drawing/2014/main" id="{C3B7CBEA-8AD0-441A-A1D4-0F139AA06B72}"/>
              </a:ext>
            </a:extLst>
          </p:cNvPr>
          <p:cNvSpPr/>
          <p:nvPr/>
        </p:nvSpPr>
        <p:spPr>
          <a:xfrm>
            <a:off x="426123" y="4553400"/>
            <a:ext cx="186947" cy="207619"/>
          </a:xfrm>
          <a:custGeom>
            <a:avLst/>
            <a:gdLst>
              <a:gd name="connsiteX0" fmla="*/ 162850 w 186947"/>
              <a:gd name="connsiteY0" fmla="*/ 160891 h 207619"/>
              <a:gd name="connsiteX1" fmla="*/ 124582 w 186947"/>
              <a:gd name="connsiteY1" fmla="*/ 160891 h 207619"/>
              <a:gd name="connsiteX2" fmla="*/ 124582 w 186947"/>
              <a:gd name="connsiteY2" fmla="*/ 137848 h 207619"/>
              <a:gd name="connsiteX3" fmla="*/ 145506 w 186947"/>
              <a:gd name="connsiteY3" fmla="*/ 127383 h 207619"/>
              <a:gd name="connsiteX4" fmla="*/ 145506 w 186947"/>
              <a:gd name="connsiteY4" fmla="*/ 16834 h 207619"/>
              <a:gd name="connsiteX5" fmla="*/ 120246 w 186947"/>
              <a:gd name="connsiteY5" fmla="*/ 0 h 207619"/>
              <a:gd name="connsiteX6" fmla="*/ 66621 w 186947"/>
              <a:gd name="connsiteY6" fmla="*/ 0 h 207619"/>
              <a:gd name="connsiteX7" fmla="*/ 41350 w 186947"/>
              <a:gd name="connsiteY7" fmla="*/ 16817 h 207619"/>
              <a:gd name="connsiteX8" fmla="*/ 41350 w 186947"/>
              <a:gd name="connsiteY8" fmla="*/ 127366 h 207619"/>
              <a:gd name="connsiteX9" fmla="*/ 62354 w 186947"/>
              <a:gd name="connsiteY9" fmla="*/ 137871 h 207619"/>
              <a:gd name="connsiteX10" fmla="*/ 62354 w 186947"/>
              <a:gd name="connsiteY10" fmla="*/ 160874 h 207619"/>
              <a:gd name="connsiteX11" fmla="*/ 24223 w 186947"/>
              <a:gd name="connsiteY11" fmla="*/ 160874 h 207619"/>
              <a:gd name="connsiteX12" fmla="*/ 0 w 186947"/>
              <a:gd name="connsiteY12" fmla="*/ 179072 h 207619"/>
              <a:gd name="connsiteX13" fmla="*/ 0 w 186947"/>
              <a:gd name="connsiteY13" fmla="*/ 207620 h 207619"/>
              <a:gd name="connsiteX14" fmla="*/ 10385 w 186947"/>
              <a:gd name="connsiteY14" fmla="*/ 207620 h 207619"/>
              <a:gd name="connsiteX15" fmla="*/ 10385 w 186947"/>
              <a:gd name="connsiteY15" fmla="*/ 184261 h 207619"/>
              <a:gd name="connsiteX16" fmla="*/ 27689 w 186947"/>
              <a:gd name="connsiteY16" fmla="*/ 171276 h 207619"/>
              <a:gd name="connsiteX17" fmla="*/ 72750 w 186947"/>
              <a:gd name="connsiteY17" fmla="*/ 171276 h 207619"/>
              <a:gd name="connsiteX18" fmla="*/ 72750 w 186947"/>
              <a:gd name="connsiteY18" fmla="*/ 143083 h 207619"/>
              <a:gd name="connsiteX19" fmla="*/ 81394 w 186947"/>
              <a:gd name="connsiteY19" fmla="*/ 147402 h 207619"/>
              <a:gd name="connsiteX20" fmla="*/ 105502 w 186947"/>
              <a:gd name="connsiteY20" fmla="*/ 147402 h 207619"/>
              <a:gd name="connsiteX21" fmla="*/ 114220 w 186947"/>
              <a:gd name="connsiteY21" fmla="*/ 143043 h 207619"/>
              <a:gd name="connsiteX22" fmla="*/ 114220 w 186947"/>
              <a:gd name="connsiteY22" fmla="*/ 171276 h 207619"/>
              <a:gd name="connsiteX23" fmla="*/ 159396 w 186947"/>
              <a:gd name="connsiteY23" fmla="*/ 171276 h 207619"/>
              <a:gd name="connsiteX24" fmla="*/ 176580 w 186947"/>
              <a:gd name="connsiteY24" fmla="*/ 184250 h 207619"/>
              <a:gd name="connsiteX25" fmla="*/ 176580 w 186947"/>
              <a:gd name="connsiteY25" fmla="*/ 197235 h 207619"/>
              <a:gd name="connsiteX26" fmla="*/ 20781 w 186947"/>
              <a:gd name="connsiteY26" fmla="*/ 197235 h 207619"/>
              <a:gd name="connsiteX27" fmla="*/ 20781 w 186947"/>
              <a:gd name="connsiteY27" fmla="*/ 207620 h 207619"/>
              <a:gd name="connsiteX28" fmla="*/ 186948 w 186947"/>
              <a:gd name="connsiteY28" fmla="*/ 207620 h 207619"/>
              <a:gd name="connsiteX29" fmla="*/ 186948 w 186947"/>
              <a:gd name="connsiteY29" fmla="*/ 179077 h 207619"/>
              <a:gd name="connsiteX30" fmla="*/ 103028 w 186947"/>
              <a:gd name="connsiteY30" fmla="*/ 137023 h 207619"/>
              <a:gd name="connsiteX31" fmla="*/ 83845 w 186947"/>
              <a:gd name="connsiteY31" fmla="*/ 137023 h 207619"/>
              <a:gd name="connsiteX32" fmla="*/ 51769 w 186947"/>
              <a:gd name="connsiteY32" fmla="*/ 120985 h 207619"/>
              <a:gd name="connsiteX33" fmla="*/ 51769 w 186947"/>
              <a:gd name="connsiteY33" fmla="*/ 22379 h 207619"/>
              <a:gd name="connsiteX34" fmla="*/ 69789 w 186947"/>
              <a:gd name="connsiteY34" fmla="*/ 10350 h 207619"/>
              <a:gd name="connsiteX35" fmla="*/ 117130 w 186947"/>
              <a:gd name="connsiteY35" fmla="*/ 10350 h 207619"/>
              <a:gd name="connsiteX36" fmla="*/ 135150 w 186947"/>
              <a:gd name="connsiteY36" fmla="*/ 22379 h 207619"/>
              <a:gd name="connsiteX37" fmla="*/ 135150 w 186947"/>
              <a:gd name="connsiteY37" fmla="*/ 120985 h 20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6947" h="207619">
                <a:moveTo>
                  <a:pt x="162850" y="160891"/>
                </a:moveTo>
                <a:lnTo>
                  <a:pt x="124582" y="160891"/>
                </a:lnTo>
                <a:lnTo>
                  <a:pt x="124582" y="137848"/>
                </a:lnTo>
                <a:lnTo>
                  <a:pt x="145506" y="127383"/>
                </a:lnTo>
                <a:lnTo>
                  <a:pt x="145506" y="16834"/>
                </a:lnTo>
                <a:lnTo>
                  <a:pt x="120246" y="0"/>
                </a:lnTo>
                <a:lnTo>
                  <a:pt x="66621" y="0"/>
                </a:lnTo>
                <a:lnTo>
                  <a:pt x="41350" y="16817"/>
                </a:lnTo>
                <a:lnTo>
                  <a:pt x="41350" y="127366"/>
                </a:lnTo>
                <a:lnTo>
                  <a:pt x="62354" y="137871"/>
                </a:lnTo>
                <a:lnTo>
                  <a:pt x="62354" y="160874"/>
                </a:lnTo>
                <a:lnTo>
                  <a:pt x="24223" y="160874"/>
                </a:lnTo>
                <a:lnTo>
                  <a:pt x="0" y="179072"/>
                </a:lnTo>
                <a:lnTo>
                  <a:pt x="0" y="207620"/>
                </a:lnTo>
                <a:lnTo>
                  <a:pt x="10385" y="207620"/>
                </a:lnTo>
                <a:lnTo>
                  <a:pt x="10385" y="184261"/>
                </a:lnTo>
                <a:lnTo>
                  <a:pt x="27689" y="171276"/>
                </a:lnTo>
                <a:lnTo>
                  <a:pt x="72750" y="171276"/>
                </a:lnTo>
                <a:lnTo>
                  <a:pt x="72750" y="143083"/>
                </a:lnTo>
                <a:lnTo>
                  <a:pt x="81394" y="147402"/>
                </a:lnTo>
                <a:lnTo>
                  <a:pt x="105502" y="147402"/>
                </a:lnTo>
                <a:lnTo>
                  <a:pt x="114220" y="143043"/>
                </a:lnTo>
                <a:lnTo>
                  <a:pt x="114220" y="171276"/>
                </a:lnTo>
                <a:lnTo>
                  <a:pt x="159396" y="171276"/>
                </a:lnTo>
                <a:lnTo>
                  <a:pt x="176580" y="184250"/>
                </a:lnTo>
                <a:lnTo>
                  <a:pt x="176580" y="197235"/>
                </a:lnTo>
                <a:lnTo>
                  <a:pt x="20781" y="197235"/>
                </a:lnTo>
                <a:lnTo>
                  <a:pt x="20781" y="207620"/>
                </a:lnTo>
                <a:lnTo>
                  <a:pt x="186948" y="207620"/>
                </a:lnTo>
                <a:lnTo>
                  <a:pt x="186948" y="179077"/>
                </a:lnTo>
                <a:close/>
                <a:moveTo>
                  <a:pt x="103028" y="137023"/>
                </a:moveTo>
                <a:lnTo>
                  <a:pt x="83845" y="137023"/>
                </a:lnTo>
                <a:lnTo>
                  <a:pt x="51769" y="120985"/>
                </a:lnTo>
                <a:lnTo>
                  <a:pt x="51769" y="22379"/>
                </a:lnTo>
                <a:lnTo>
                  <a:pt x="69789" y="10350"/>
                </a:lnTo>
                <a:lnTo>
                  <a:pt x="117130" y="10350"/>
                </a:lnTo>
                <a:lnTo>
                  <a:pt x="135150" y="22379"/>
                </a:lnTo>
                <a:lnTo>
                  <a:pt x="135150" y="120985"/>
                </a:lnTo>
                <a:close/>
              </a:path>
            </a:pathLst>
          </a:custGeom>
          <a:solidFill>
            <a:srgbClr val="FFFFFF"/>
          </a:solidFill>
          <a:ln w="5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8" name="Graphic 5">
            <a:extLst>
              <a:ext uri="{FF2B5EF4-FFF2-40B4-BE49-F238E27FC236}">
                <a16:creationId xmlns:a16="http://schemas.microsoft.com/office/drawing/2014/main" id="{0ED128A5-3EB3-44B8-9514-60A5376432F9}"/>
              </a:ext>
            </a:extLst>
          </p:cNvPr>
          <p:cNvGrpSpPr/>
          <p:nvPr/>
        </p:nvGrpSpPr>
        <p:grpSpPr>
          <a:xfrm>
            <a:off x="423152" y="4887836"/>
            <a:ext cx="192624" cy="192624"/>
            <a:chOff x="423152" y="4887836"/>
            <a:chExt cx="192624" cy="192624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44C7458C-BC06-4494-B0B1-ED17D4216707}"/>
                </a:ext>
              </a:extLst>
            </p:cNvPr>
            <p:cNvSpPr/>
            <p:nvPr/>
          </p:nvSpPr>
          <p:spPr>
            <a:xfrm>
              <a:off x="423152" y="4887836"/>
              <a:ext cx="192624" cy="192624"/>
            </a:xfrm>
            <a:custGeom>
              <a:avLst/>
              <a:gdLst>
                <a:gd name="connsiteX0" fmla="*/ 158935 w 192624"/>
                <a:gd name="connsiteY0" fmla="*/ 9193 h 192624"/>
                <a:gd name="connsiteX1" fmla="*/ 158935 w 192624"/>
                <a:gd name="connsiteY1" fmla="*/ 0 h 192624"/>
                <a:gd name="connsiteX2" fmla="*/ 149317 w 192624"/>
                <a:gd name="connsiteY2" fmla="*/ 0 h 192624"/>
                <a:gd name="connsiteX3" fmla="*/ 149317 w 192624"/>
                <a:gd name="connsiteY3" fmla="*/ 9193 h 192624"/>
                <a:gd name="connsiteX4" fmla="*/ 130081 w 192624"/>
                <a:gd name="connsiteY4" fmla="*/ 9193 h 192624"/>
                <a:gd name="connsiteX5" fmla="*/ 130081 w 192624"/>
                <a:gd name="connsiteY5" fmla="*/ 0 h 192624"/>
                <a:gd name="connsiteX6" fmla="*/ 120463 w 192624"/>
                <a:gd name="connsiteY6" fmla="*/ 0 h 192624"/>
                <a:gd name="connsiteX7" fmla="*/ 120463 w 192624"/>
                <a:gd name="connsiteY7" fmla="*/ 9193 h 192624"/>
                <a:gd name="connsiteX8" fmla="*/ 101227 w 192624"/>
                <a:gd name="connsiteY8" fmla="*/ 9193 h 192624"/>
                <a:gd name="connsiteX9" fmla="*/ 101227 w 192624"/>
                <a:gd name="connsiteY9" fmla="*/ 0 h 192624"/>
                <a:gd name="connsiteX10" fmla="*/ 91609 w 192624"/>
                <a:gd name="connsiteY10" fmla="*/ 0 h 192624"/>
                <a:gd name="connsiteX11" fmla="*/ 91609 w 192624"/>
                <a:gd name="connsiteY11" fmla="*/ 9193 h 192624"/>
                <a:gd name="connsiteX12" fmla="*/ 72374 w 192624"/>
                <a:gd name="connsiteY12" fmla="*/ 9193 h 192624"/>
                <a:gd name="connsiteX13" fmla="*/ 72374 w 192624"/>
                <a:gd name="connsiteY13" fmla="*/ 0 h 192624"/>
                <a:gd name="connsiteX14" fmla="*/ 62756 w 192624"/>
                <a:gd name="connsiteY14" fmla="*/ 0 h 192624"/>
                <a:gd name="connsiteX15" fmla="*/ 62756 w 192624"/>
                <a:gd name="connsiteY15" fmla="*/ 9193 h 192624"/>
                <a:gd name="connsiteX16" fmla="*/ 43360 w 192624"/>
                <a:gd name="connsiteY16" fmla="*/ 9193 h 192624"/>
                <a:gd name="connsiteX17" fmla="*/ 43360 w 192624"/>
                <a:gd name="connsiteY17" fmla="*/ 0 h 192624"/>
                <a:gd name="connsiteX18" fmla="*/ 33689 w 192624"/>
                <a:gd name="connsiteY18" fmla="*/ 0 h 192624"/>
                <a:gd name="connsiteX19" fmla="*/ 33689 w 192624"/>
                <a:gd name="connsiteY19" fmla="*/ 9193 h 192624"/>
                <a:gd name="connsiteX20" fmla="*/ 0 w 192624"/>
                <a:gd name="connsiteY20" fmla="*/ 9193 h 192624"/>
                <a:gd name="connsiteX21" fmla="*/ 0 w 192624"/>
                <a:gd name="connsiteY21" fmla="*/ 48143 h 192624"/>
                <a:gd name="connsiteX22" fmla="*/ 0 w 192624"/>
                <a:gd name="connsiteY22" fmla="*/ 57761 h 192624"/>
                <a:gd name="connsiteX23" fmla="*/ 0 w 192624"/>
                <a:gd name="connsiteY23" fmla="*/ 192624 h 192624"/>
                <a:gd name="connsiteX24" fmla="*/ 131994 w 192624"/>
                <a:gd name="connsiteY24" fmla="*/ 192624 h 192624"/>
                <a:gd name="connsiteX25" fmla="*/ 192624 w 192624"/>
                <a:gd name="connsiteY25" fmla="*/ 131994 h 192624"/>
                <a:gd name="connsiteX26" fmla="*/ 192624 w 192624"/>
                <a:gd name="connsiteY26" fmla="*/ 125193 h 192624"/>
                <a:gd name="connsiteX27" fmla="*/ 183006 w 192624"/>
                <a:gd name="connsiteY27" fmla="*/ 125193 h 192624"/>
                <a:gd name="connsiteX28" fmla="*/ 183006 w 192624"/>
                <a:gd name="connsiteY28" fmla="*/ 125193 h 192624"/>
                <a:gd name="connsiteX29" fmla="*/ 142569 w 192624"/>
                <a:gd name="connsiteY29" fmla="*/ 125193 h 192624"/>
                <a:gd name="connsiteX30" fmla="*/ 125246 w 192624"/>
                <a:gd name="connsiteY30" fmla="*/ 142462 h 192624"/>
                <a:gd name="connsiteX31" fmla="*/ 125246 w 192624"/>
                <a:gd name="connsiteY31" fmla="*/ 183006 h 192624"/>
                <a:gd name="connsiteX32" fmla="*/ 9618 w 192624"/>
                <a:gd name="connsiteY32" fmla="*/ 183006 h 192624"/>
                <a:gd name="connsiteX33" fmla="*/ 9618 w 192624"/>
                <a:gd name="connsiteY33" fmla="*/ 57761 h 192624"/>
                <a:gd name="connsiteX34" fmla="*/ 182953 w 192624"/>
                <a:gd name="connsiteY34" fmla="*/ 57761 h 192624"/>
                <a:gd name="connsiteX35" fmla="*/ 182953 w 192624"/>
                <a:gd name="connsiteY35" fmla="*/ 115521 h 192624"/>
                <a:gd name="connsiteX36" fmla="*/ 192571 w 192624"/>
                <a:gd name="connsiteY36" fmla="*/ 115521 h 192624"/>
                <a:gd name="connsiteX37" fmla="*/ 192571 w 192624"/>
                <a:gd name="connsiteY37" fmla="*/ 57761 h 192624"/>
                <a:gd name="connsiteX38" fmla="*/ 192571 w 192624"/>
                <a:gd name="connsiteY38" fmla="*/ 48143 h 192624"/>
                <a:gd name="connsiteX39" fmla="*/ 192571 w 192624"/>
                <a:gd name="connsiteY39" fmla="*/ 9193 h 192624"/>
                <a:gd name="connsiteX40" fmla="*/ 158935 w 192624"/>
                <a:gd name="connsiteY40" fmla="*/ 9193 h 192624"/>
                <a:gd name="connsiteX41" fmla="*/ 146554 w 192624"/>
                <a:gd name="connsiteY41" fmla="*/ 134810 h 192624"/>
                <a:gd name="connsiteX42" fmla="*/ 176205 w 192624"/>
                <a:gd name="connsiteY42" fmla="*/ 134810 h 192624"/>
                <a:gd name="connsiteX43" fmla="*/ 134864 w 192624"/>
                <a:gd name="connsiteY43" fmla="*/ 176152 h 192624"/>
                <a:gd name="connsiteX44" fmla="*/ 134864 w 192624"/>
                <a:gd name="connsiteY44" fmla="*/ 146448 h 192624"/>
                <a:gd name="connsiteX45" fmla="*/ 146554 w 192624"/>
                <a:gd name="connsiteY45" fmla="*/ 134810 h 192624"/>
                <a:gd name="connsiteX46" fmla="*/ 9618 w 192624"/>
                <a:gd name="connsiteY46" fmla="*/ 48143 h 192624"/>
                <a:gd name="connsiteX47" fmla="*/ 9618 w 192624"/>
                <a:gd name="connsiteY47" fmla="*/ 18811 h 192624"/>
                <a:gd name="connsiteX48" fmla="*/ 33689 w 192624"/>
                <a:gd name="connsiteY48" fmla="*/ 18811 h 192624"/>
                <a:gd name="connsiteX49" fmla="*/ 33689 w 192624"/>
                <a:gd name="connsiteY49" fmla="*/ 33689 h 192624"/>
                <a:gd name="connsiteX50" fmla="*/ 43307 w 192624"/>
                <a:gd name="connsiteY50" fmla="*/ 33689 h 192624"/>
                <a:gd name="connsiteX51" fmla="*/ 43307 w 192624"/>
                <a:gd name="connsiteY51" fmla="*/ 18811 h 192624"/>
                <a:gd name="connsiteX52" fmla="*/ 62543 w 192624"/>
                <a:gd name="connsiteY52" fmla="*/ 18811 h 192624"/>
                <a:gd name="connsiteX53" fmla="*/ 62543 w 192624"/>
                <a:gd name="connsiteY53" fmla="*/ 33689 h 192624"/>
                <a:gd name="connsiteX54" fmla="*/ 72161 w 192624"/>
                <a:gd name="connsiteY54" fmla="*/ 33689 h 192624"/>
                <a:gd name="connsiteX55" fmla="*/ 72161 w 192624"/>
                <a:gd name="connsiteY55" fmla="*/ 18811 h 192624"/>
                <a:gd name="connsiteX56" fmla="*/ 91397 w 192624"/>
                <a:gd name="connsiteY56" fmla="*/ 18811 h 192624"/>
                <a:gd name="connsiteX57" fmla="*/ 91397 w 192624"/>
                <a:gd name="connsiteY57" fmla="*/ 33689 h 192624"/>
                <a:gd name="connsiteX58" fmla="*/ 101015 w 192624"/>
                <a:gd name="connsiteY58" fmla="*/ 33689 h 192624"/>
                <a:gd name="connsiteX59" fmla="*/ 101015 w 192624"/>
                <a:gd name="connsiteY59" fmla="*/ 18811 h 192624"/>
                <a:gd name="connsiteX60" fmla="*/ 120251 w 192624"/>
                <a:gd name="connsiteY60" fmla="*/ 18811 h 192624"/>
                <a:gd name="connsiteX61" fmla="*/ 120251 w 192624"/>
                <a:gd name="connsiteY61" fmla="*/ 33689 h 192624"/>
                <a:gd name="connsiteX62" fmla="*/ 129869 w 192624"/>
                <a:gd name="connsiteY62" fmla="*/ 33689 h 192624"/>
                <a:gd name="connsiteX63" fmla="*/ 129869 w 192624"/>
                <a:gd name="connsiteY63" fmla="*/ 18811 h 192624"/>
                <a:gd name="connsiteX64" fmla="*/ 149105 w 192624"/>
                <a:gd name="connsiteY64" fmla="*/ 18811 h 192624"/>
                <a:gd name="connsiteX65" fmla="*/ 149105 w 192624"/>
                <a:gd name="connsiteY65" fmla="*/ 33689 h 192624"/>
                <a:gd name="connsiteX66" fmla="*/ 158722 w 192624"/>
                <a:gd name="connsiteY66" fmla="*/ 33689 h 192624"/>
                <a:gd name="connsiteX67" fmla="*/ 158722 w 192624"/>
                <a:gd name="connsiteY67" fmla="*/ 18811 h 192624"/>
                <a:gd name="connsiteX68" fmla="*/ 182794 w 192624"/>
                <a:gd name="connsiteY68" fmla="*/ 18811 h 192624"/>
                <a:gd name="connsiteX69" fmla="*/ 182794 w 192624"/>
                <a:gd name="connsiteY69" fmla="*/ 48143 h 192624"/>
                <a:gd name="connsiteX70" fmla="*/ 9618 w 192624"/>
                <a:gd name="connsiteY70" fmla="*/ 48143 h 192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92624" h="192624">
                  <a:moveTo>
                    <a:pt x="158935" y="9193"/>
                  </a:moveTo>
                  <a:lnTo>
                    <a:pt x="158935" y="0"/>
                  </a:lnTo>
                  <a:lnTo>
                    <a:pt x="149317" y="0"/>
                  </a:lnTo>
                  <a:lnTo>
                    <a:pt x="149317" y="9193"/>
                  </a:lnTo>
                  <a:lnTo>
                    <a:pt x="130081" y="9193"/>
                  </a:lnTo>
                  <a:lnTo>
                    <a:pt x="130081" y="0"/>
                  </a:lnTo>
                  <a:lnTo>
                    <a:pt x="120463" y="0"/>
                  </a:lnTo>
                  <a:lnTo>
                    <a:pt x="120463" y="9193"/>
                  </a:lnTo>
                  <a:lnTo>
                    <a:pt x="101227" y="9193"/>
                  </a:lnTo>
                  <a:lnTo>
                    <a:pt x="101227" y="0"/>
                  </a:lnTo>
                  <a:lnTo>
                    <a:pt x="91609" y="0"/>
                  </a:lnTo>
                  <a:lnTo>
                    <a:pt x="91609" y="9193"/>
                  </a:lnTo>
                  <a:lnTo>
                    <a:pt x="72374" y="9193"/>
                  </a:lnTo>
                  <a:lnTo>
                    <a:pt x="72374" y="0"/>
                  </a:lnTo>
                  <a:lnTo>
                    <a:pt x="62756" y="0"/>
                  </a:lnTo>
                  <a:lnTo>
                    <a:pt x="62756" y="9193"/>
                  </a:lnTo>
                  <a:lnTo>
                    <a:pt x="43360" y="9193"/>
                  </a:lnTo>
                  <a:lnTo>
                    <a:pt x="43360" y="0"/>
                  </a:lnTo>
                  <a:lnTo>
                    <a:pt x="33689" y="0"/>
                  </a:lnTo>
                  <a:lnTo>
                    <a:pt x="33689" y="9193"/>
                  </a:lnTo>
                  <a:lnTo>
                    <a:pt x="0" y="9193"/>
                  </a:lnTo>
                  <a:lnTo>
                    <a:pt x="0" y="48143"/>
                  </a:lnTo>
                  <a:lnTo>
                    <a:pt x="0" y="57761"/>
                  </a:lnTo>
                  <a:lnTo>
                    <a:pt x="0" y="192624"/>
                  </a:lnTo>
                  <a:lnTo>
                    <a:pt x="131994" y="192624"/>
                  </a:lnTo>
                  <a:lnTo>
                    <a:pt x="192624" y="131994"/>
                  </a:lnTo>
                  <a:lnTo>
                    <a:pt x="192624" y="125193"/>
                  </a:lnTo>
                  <a:lnTo>
                    <a:pt x="183006" y="125193"/>
                  </a:lnTo>
                  <a:lnTo>
                    <a:pt x="183006" y="125193"/>
                  </a:lnTo>
                  <a:lnTo>
                    <a:pt x="142569" y="125193"/>
                  </a:lnTo>
                  <a:lnTo>
                    <a:pt x="125246" y="142462"/>
                  </a:lnTo>
                  <a:lnTo>
                    <a:pt x="125246" y="183006"/>
                  </a:lnTo>
                  <a:lnTo>
                    <a:pt x="9618" y="183006"/>
                  </a:lnTo>
                  <a:lnTo>
                    <a:pt x="9618" y="57761"/>
                  </a:lnTo>
                  <a:lnTo>
                    <a:pt x="182953" y="57761"/>
                  </a:lnTo>
                  <a:lnTo>
                    <a:pt x="182953" y="115521"/>
                  </a:lnTo>
                  <a:lnTo>
                    <a:pt x="192571" y="115521"/>
                  </a:lnTo>
                  <a:lnTo>
                    <a:pt x="192571" y="57761"/>
                  </a:lnTo>
                  <a:lnTo>
                    <a:pt x="192571" y="48143"/>
                  </a:lnTo>
                  <a:lnTo>
                    <a:pt x="192571" y="9193"/>
                  </a:lnTo>
                  <a:lnTo>
                    <a:pt x="158935" y="9193"/>
                  </a:lnTo>
                  <a:close/>
                  <a:moveTo>
                    <a:pt x="146554" y="134810"/>
                  </a:moveTo>
                  <a:lnTo>
                    <a:pt x="176205" y="134810"/>
                  </a:lnTo>
                  <a:lnTo>
                    <a:pt x="134864" y="176152"/>
                  </a:lnTo>
                  <a:lnTo>
                    <a:pt x="134864" y="146448"/>
                  </a:lnTo>
                  <a:lnTo>
                    <a:pt x="146554" y="134810"/>
                  </a:lnTo>
                  <a:close/>
                  <a:moveTo>
                    <a:pt x="9618" y="48143"/>
                  </a:moveTo>
                  <a:lnTo>
                    <a:pt x="9618" y="18811"/>
                  </a:lnTo>
                  <a:lnTo>
                    <a:pt x="33689" y="18811"/>
                  </a:lnTo>
                  <a:lnTo>
                    <a:pt x="33689" y="33689"/>
                  </a:lnTo>
                  <a:lnTo>
                    <a:pt x="43307" y="33689"/>
                  </a:lnTo>
                  <a:lnTo>
                    <a:pt x="43307" y="18811"/>
                  </a:lnTo>
                  <a:lnTo>
                    <a:pt x="62543" y="18811"/>
                  </a:lnTo>
                  <a:lnTo>
                    <a:pt x="62543" y="33689"/>
                  </a:lnTo>
                  <a:lnTo>
                    <a:pt x="72161" y="33689"/>
                  </a:lnTo>
                  <a:lnTo>
                    <a:pt x="72161" y="18811"/>
                  </a:lnTo>
                  <a:lnTo>
                    <a:pt x="91397" y="18811"/>
                  </a:lnTo>
                  <a:lnTo>
                    <a:pt x="91397" y="33689"/>
                  </a:lnTo>
                  <a:lnTo>
                    <a:pt x="101015" y="33689"/>
                  </a:lnTo>
                  <a:lnTo>
                    <a:pt x="101015" y="18811"/>
                  </a:lnTo>
                  <a:lnTo>
                    <a:pt x="120251" y="18811"/>
                  </a:lnTo>
                  <a:lnTo>
                    <a:pt x="120251" y="33689"/>
                  </a:lnTo>
                  <a:lnTo>
                    <a:pt x="129869" y="33689"/>
                  </a:lnTo>
                  <a:lnTo>
                    <a:pt x="129869" y="18811"/>
                  </a:lnTo>
                  <a:lnTo>
                    <a:pt x="149105" y="18811"/>
                  </a:lnTo>
                  <a:lnTo>
                    <a:pt x="149105" y="33689"/>
                  </a:lnTo>
                  <a:lnTo>
                    <a:pt x="158722" y="33689"/>
                  </a:lnTo>
                  <a:lnTo>
                    <a:pt x="158722" y="18811"/>
                  </a:lnTo>
                  <a:lnTo>
                    <a:pt x="182794" y="18811"/>
                  </a:lnTo>
                  <a:lnTo>
                    <a:pt x="182794" y="48143"/>
                  </a:lnTo>
                  <a:lnTo>
                    <a:pt x="9618" y="48143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B0A125BB-D6AD-40EB-AF08-A420D4A06CA2}"/>
                </a:ext>
              </a:extLst>
            </p:cNvPr>
            <p:cNvSpPr/>
            <p:nvPr/>
          </p:nvSpPr>
          <p:spPr>
            <a:xfrm>
              <a:off x="452058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18 w 38524"/>
                <a:gd name="connsiteY6" fmla="*/ 28907 h 38524"/>
                <a:gd name="connsiteX7" fmla="*/ 9618 w 38524"/>
                <a:gd name="connsiteY7" fmla="*/ 9671 h 38524"/>
                <a:gd name="connsiteX8" fmla="*/ 28854 w 38524"/>
                <a:gd name="connsiteY8" fmla="*/ 9671 h 38524"/>
                <a:gd name="connsiteX9" fmla="*/ 28854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18" y="28907"/>
                  </a:lnTo>
                  <a:lnTo>
                    <a:pt x="9618" y="9671"/>
                  </a:lnTo>
                  <a:lnTo>
                    <a:pt x="28854" y="9671"/>
                  </a:lnTo>
                  <a:lnTo>
                    <a:pt x="28854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FE010376-EF61-40DD-9CC0-A54051ADCD08}"/>
                </a:ext>
              </a:extLst>
            </p:cNvPr>
            <p:cNvSpPr/>
            <p:nvPr/>
          </p:nvSpPr>
          <p:spPr>
            <a:xfrm>
              <a:off x="500201" y="4964885"/>
              <a:ext cx="38524" cy="38524"/>
            </a:xfrm>
            <a:custGeom>
              <a:avLst/>
              <a:gdLst>
                <a:gd name="connsiteX0" fmla="*/ 38525 w 38524"/>
                <a:gd name="connsiteY0" fmla="*/ 0 h 38524"/>
                <a:gd name="connsiteX1" fmla="*/ 0 w 38524"/>
                <a:gd name="connsiteY1" fmla="*/ 0 h 38524"/>
                <a:gd name="connsiteX2" fmla="*/ 0 w 38524"/>
                <a:gd name="connsiteY2" fmla="*/ 38525 h 38524"/>
                <a:gd name="connsiteX3" fmla="*/ 38525 w 38524"/>
                <a:gd name="connsiteY3" fmla="*/ 38525 h 38524"/>
                <a:gd name="connsiteX4" fmla="*/ 38525 w 38524"/>
                <a:gd name="connsiteY4" fmla="*/ 0 h 38524"/>
                <a:gd name="connsiteX5" fmla="*/ 28907 w 38524"/>
                <a:gd name="connsiteY5" fmla="*/ 28907 h 38524"/>
                <a:gd name="connsiteX6" fmla="*/ 9671 w 38524"/>
                <a:gd name="connsiteY6" fmla="*/ 28907 h 38524"/>
                <a:gd name="connsiteX7" fmla="*/ 9671 w 38524"/>
                <a:gd name="connsiteY7" fmla="*/ 9671 h 38524"/>
                <a:gd name="connsiteX8" fmla="*/ 28907 w 38524"/>
                <a:gd name="connsiteY8" fmla="*/ 9671 h 38524"/>
                <a:gd name="connsiteX9" fmla="*/ 28907 w 38524"/>
                <a:gd name="connsiteY9" fmla="*/ 28907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0"/>
                  </a:move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lnTo>
                    <a:pt x="38525" y="0"/>
                  </a:lnTo>
                  <a:close/>
                  <a:moveTo>
                    <a:pt x="28907" y="28907"/>
                  </a:moveTo>
                  <a:lnTo>
                    <a:pt x="9671" y="28907"/>
                  </a:lnTo>
                  <a:lnTo>
                    <a:pt x="9671" y="9671"/>
                  </a:lnTo>
                  <a:lnTo>
                    <a:pt x="28907" y="9671"/>
                  </a:lnTo>
                  <a:lnTo>
                    <a:pt x="28907" y="28907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4D0A3AB1-ACF0-4986-A1E6-6187A094D6AF}"/>
                </a:ext>
              </a:extLst>
            </p:cNvPr>
            <p:cNvSpPr/>
            <p:nvPr/>
          </p:nvSpPr>
          <p:spPr>
            <a:xfrm>
              <a:off x="548344" y="4964885"/>
              <a:ext cx="38524" cy="38524"/>
            </a:xfrm>
            <a:custGeom>
              <a:avLst/>
              <a:gdLst>
                <a:gd name="connsiteX0" fmla="*/ 38525 w 38524"/>
                <a:gd name="connsiteY0" fmla="*/ 38525 h 38524"/>
                <a:gd name="connsiteX1" fmla="*/ 38525 w 38524"/>
                <a:gd name="connsiteY1" fmla="*/ 0 h 38524"/>
                <a:gd name="connsiteX2" fmla="*/ 0 w 38524"/>
                <a:gd name="connsiteY2" fmla="*/ 0 h 38524"/>
                <a:gd name="connsiteX3" fmla="*/ 0 w 38524"/>
                <a:gd name="connsiteY3" fmla="*/ 38525 h 38524"/>
                <a:gd name="connsiteX4" fmla="*/ 38525 w 38524"/>
                <a:gd name="connsiteY4" fmla="*/ 38525 h 38524"/>
                <a:gd name="connsiteX5" fmla="*/ 9671 w 38524"/>
                <a:gd name="connsiteY5" fmla="*/ 9618 h 38524"/>
                <a:gd name="connsiteX6" fmla="*/ 28907 w 38524"/>
                <a:gd name="connsiteY6" fmla="*/ 9618 h 38524"/>
                <a:gd name="connsiteX7" fmla="*/ 28907 w 38524"/>
                <a:gd name="connsiteY7" fmla="*/ 28854 h 38524"/>
                <a:gd name="connsiteX8" fmla="*/ 9671 w 38524"/>
                <a:gd name="connsiteY8" fmla="*/ 28854 h 38524"/>
                <a:gd name="connsiteX9" fmla="*/ 9671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38525" y="38525"/>
                  </a:move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lnTo>
                    <a:pt x="38525" y="38525"/>
                  </a:lnTo>
                  <a:close/>
                  <a:moveTo>
                    <a:pt x="9671" y="9618"/>
                  </a:moveTo>
                  <a:lnTo>
                    <a:pt x="28907" y="9618"/>
                  </a:lnTo>
                  <a:lnTo>
                    <a:pt x="28907" y="28854"/>
                  </a:lnTo>
                  <a:lnTo>
                    <a:pt x="9671" y="28854"/>
                  </a:lnTo>
                  <a:lnTo>
                    <a:pt x="9671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DD255570-96B8-48CC-B29C-749451787D24}"/>
                </a:ext>
              </a:extLst>
            </p:cNvPr>
            <p:cNvSpPr/>
            <p:nvPr/>
          </p:nvSpPr>
          <p:spPr>
            <a:xfrm>
              <a:off x="452058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94F19008-463B-4253-9647-BF159CAD5573}"/>
                </a:ext>
              </a:extLst>
            </p:cNvPr>
            <p:cNvSpPr/>
            <p:nvPr/>
          </p:nvSpPr>
          <p:spPr>
            <a:xfrm>
              <a:off x="500201" y="5013028"/>
              <a:ext cx="38524" cy="38524"/>
            </a:xfrm>
            <a:custGeom>
              <a:avLst/>
              <a:gdLst>
                <a:gd name="connsiteX0" fmla="*/ 0 w 38524"/>
                <a:gd name="connsiteY0" fmla="*/ 38525 h 38524"/>
                <a:gd name="connsiteX1" fmla="*/ 38525 w 38524"/>
                <a:gd name="connsiteY1" fmla="*/ 38525 h 38524"/>
                <a:gd name="connsiteX2" fmla="*/ 38525 w 38524"/>
                <a:gd name="connsiteY2" fmla="*/ 0 h 38524"/>
                <a:gd name="connsiteX3" fmla="*/ 0 w 38524"/>
                <a:gd name="connsiteY3" fmla="*/ 0 h 38524"/>
                <a:gd name="connsiteX4" fmla="*/ 0 w 38524"/>
                <a:gd name="connsiteY4" fmla="*/ 38525 h 38524"/>
                <a:gd name="connsiteX5" fmla="*/ 9618 w 38524"/>
                <a:gd name="connsiteY5" fmla="*/ 9618 h 38524"/>
                <a:gd name="connsiteX6" fmla="*/ 28854 w 38524"/>
                <a:gd name="connsiteY6" fmla="*/ 9618 h 38524"/>
                <a:gd name="connsiteX7" fmla="*/ 28854 w 38524"/>
                <a:gd name="connsiteY7" fmla="*/ 28907 h 38524"/>
                <a:gd name="connsiteX8" fmla="*/ 9618 w 38524"/>
                <a:gd name="connsiteY8" fmla="*/ 28907 h 38524"/>
                <a:gd name="connsiteX9" fmla="*/ 9618 w 38524"/>
                <a:gd name="connsiteY9" fmla="*/ 9618 h 3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524" h="38524">
                  <a:moveTo>
                    <a:pt x="0" y="38525"/>
                  </a:moveTo>
                  <a:lnTo>
                    <a:pt x="38525" y="38525"/>
                  </a:lnTo>
                  <a:lnTo>
                    <a:pt x="38525" y="0"/>
                  </a:lnTo>
                  <a:lnTo>
                    <a:pt x="0" y="0"/>
                  </a:lnTo>
                  <a:lnTo>
                    <a:pt x="0" y="38525"/>
                  </a:lnTo>
                  <a:close/>
                  <a:moveTo>
                    <a:pt x="9618" y="9618"/>
                  </a:moveTo>
                  <a:lnTo>
                    <a:pt x="28854" y="9618"/>
                  </a:lnTo>
                  <a:lnTo>
                    <a:pt x="28854" y="28907"/>
                  </a:lnTo>
                  <a:lnTo>
                    <a:pt x="9618" y="28907"/>
                  </a:lnTo>
                  <a:lnTo>
                    <a:pt x="9618" y="9618"/>
                  </a:lnTo>
                  <a:close/>
                </a:path>
              </a:pathLst>
            </a:custGeom>
            <a:solidFill>
              <a:srgbClr val="FFFFFF"/>
            </a:solidFill>
            <a:ln w="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" name="Рисунок 3">
            <a:extLst>
              <a:ext uri="{FF2B5EF4-FFF2-40B4-BE49-F238E27FC236}">
                <a16:creationId xmlns:a16="http://schemas.microsoft.com/office/drawing/2014/main" id="{5CCA10BD-5912-479E-A915-0FF9BCA4418E}"/>
              </a:ext>
            </a:extLst>
          </p:cNvPr>
          <p:cNvGrpSpPr/>
          <p:nvPr userDrawn="1"/>
        </p:nvGrpSpPr>
        <p:grpSpPr>
          <a:xfrm>
            <a:off x="408720" y="765778"/>
            <a:ext cx="2914972" cy="907888"/>
            <a:chOff x="2690812" y="2366100"/>
            <a:chExt cx="6807279" cy="2120173"/>
          </a:xfrm>
          <a:solidFill>
            <a:schemeClr val="bg1"/>
          </a:solidFill>
        </p:grpSpPr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CDEFE118-F44C-4422-A399-99640F91D272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D0CB7EBD-FFCD-4327-B037-52DB3ED2140E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8155281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4188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ини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39287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иагональный паттерн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4CE0A532-2796-40D5-A00D-592B82F1A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0"/>
            <a:ext cx="12190476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69D422-068F-4038-B61F-055EE178BF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16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7970F0F-9898-478D-AD56-9AC5CB8561B9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 userDrawn="1"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 userDrawn="1"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 userDrawn="1"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 userDrawn="1"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 userDrawn="1"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8" name="Полилиния: фигура 17">
            <a:extLst>
              <a:ext uri="{FF2B5EF4-FFF2-40B4-BE49-F238E27FC236}">
                <a16:creationId xmlns:a16="http://schemas.microsoft.com/office/drawing/2014/main" id="{56E33414-3B4A-42F9-9B3C-DC451B0A6762}"/>
              </a:ext>
            </a:extLst>
          </p:cNvPr>
          <p:cNvSpPr/>
          <p:nvPr userDrawn="1"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B4FC9AAA-6983-40E1-A475-3B67DA42177C}"/>
              </a:ext>
            </a:extLst>
          </p:cNvPr>
          <p:cNvSpPr/>
          <p:nvPr userDrawn="1"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632D4F25-C6AD-432D-AEB6-379EFBD56188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21" name="Полилиния: фигура 20">
            <a:extLst>
              <a:ext uri="{FF2B5EF4-FFF2-40B4-BE49-F238E27FC236}">
                <a16:creationId xmlns:a16="http://schemas.microsoft.com/office/drawing/2014/main" id="{407EC5EB-720E-47A1-B61E-BDFA7C3B75FC}"/>
              </a:ext>
            </a:extLst>
          </p:cNvPr>
          <p:cNvSpPr/>
          <p:nvPr userDrawn="1"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320DD75F-9BF3-476D-9821-1A79F44BECA8}"/>
              </a:ext>
            </a:extLst>
          </p:cNvPr>
          <p:cNvSpPr/>
          <p:nvPr userDrawn="1"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id="{20C824DA-F291-422D-9366-93A6585C320C}"/>
              </a:ext>
            </a:extLst>
          </p:cNvPr>
          <p:cNvSpPr/>
          <p:nvPr userDrawn="1"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7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24" name="Полилиния: фигура 23">
            <a:extLst>
              <a:ext uri="{FF2B5EF4-FFF2-40B4-BE49-F238E27FC236}">
                <a16:creationId xmlns:a16="http://schemas.microsoft.com/office/drawing/2014/main" id="{6E0E70B7-4A38-42E0-AA9A-7098AC8DF199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3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5D956954-4237-437C-8DC3-280112C09B24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18F566F9-B90C-4C7D-94B8-6016F910CE49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21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id="{CE9684D8-C8C8-440B-AE23-521514648E15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19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86F22C39-B163-4D69-8B0B-7C123B02F50B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id="{76AF4B09-CAEC-4319-8D55-A1EACFF9E0B9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73000">
                <a:schemeClr val="tx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4257092"/>
            <a:ext cx="6176427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19797981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диагональным паттерно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>
            <a:extLst>
              <a:ext uri="{FF2B5EF4-FFF2-40B4-BE49-F238E27FC236}">
                <a16:creationId xmlns:a16="http://schemas.microsoft.com/office/drawing/2014/main" id="{AA4AF783-430B-4C8F-8FCF-932803F467F5}"/>
              </a:ext>
            </a:extLst>
          </p:cNvPr>
          <p:cNvSpPr/>
          <p:nvPr/>
        </p:nvSpPr>
        <p:spPr>
          <a:xfrm>
            <a:off x="354860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араллелограмм 7">
            <a:extLst>
              <a:ext uri="{FF2B5EF4-FFF2-40B4-BE49-F238E27FC236}">
                <a16:creationId xmlns:a16="http://schemas.microsoft.com/office/drawing/2014/main" id="{FEEDDF4E-FD57-41B2-B225-953B6EA027D1}"/>
              </a:ext>
            </a:extLst>
          </p:cNvPr>
          <p:cNvSpPr/>
          <p:nvPr/>
        </p:nvSpPr>
        <p:spPr>
          <a:xfrm>
            <a:off x="594126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id="{15FF8BE3-CB84-49EC-B277-FD4E2EEE5729}"/>
              </a:ext>
            </a:extLst>
          </p:cNvPr>
          <p:cNvSpPr/>
          <p:nvPr/>
        </p:nvSpPr>
        <p:spPr>
          <a:xfrm>
            <a:off x="8333928" y="0"/>
            <a:ext cx="3858073" cy="3434914"/>
          </a:xfrm>
          <a:custGeom>
            <a:avLst/>
            <a:gdLst>
              <a:gd name="connsiteX0" fmla="*/ 3304216 w 3858073"/>
              <a:gd name="connsiteY0" fmla="*/ 0 h 3434914"/>
              <a:gd name="connsiteX1" fmla="*/ 3858073 w 3858073"/>
              <a:gd name="connsiteY1" fmla="*/ 0 h 3434914"/>
              <a:gd name="connsiteX2" fmla="*/ 3858073 w 3858073"/>
              <a:gd name="connsiteY2" fmla="*/ 668275 h 3434914"/>
              <a:gd name="connsiteX3" fmla="*/ 1196704 w 3858073"/>
              <a:gd name="connsiteY3" fmla="*/ 3434914 h 3434914"/>
              <a:gd name="connsiteX4" fmla="*/ 0 w 3858073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8073" h="3434914">
                <a:moveTo>
                  <a:pt x="3304216" y="0"/>
                </a:moveTo>
                <a:lnTo>
                  <a:pt x="3858073" y="0"/>
                </a:lnTo>
                <a:lnTo>
                  <a:pt x="3858073" y="668275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C1BD6F0-FD89-4582-B4EC-82A01A1E99D9}"/>
              </a:ext>
            </a:extLst>
          </p:cNvPr>
          <p:cNvSpPr/>
          <p:nvPr/>
        </p:nvSpPr>
        <p:spPr>
          <a:xfrm>
            <a:off x="10726588" y="1911538"/>
            <a:ext cx="1465413" cy="1523377"/>
          </a:xfrm>
          <a:custGeom>
            <a:avLst/>
            <a:gdLst>
              <a:gd name="connsiteX0" fmla="*/ 1465413 w 1465413"/>
              <a:gd name="connsiteY0" fmla="*/ 0 h 1523377"/>
              <a:gd name="connsiteX1" fmla="*/ 1465413 w 1465413"/>
              <a:gd name="connsiteY1" fmla="*/ 1244039 h 1523377"/>
              <a:gd name="connsiteX2" fmla="*/ 1196704 w 1465413"/>
              <a:gd name="connsiteY2" fmla="*/ 1523377 h 1523377"/>
              <a:gd name="connsiteX3" fmla="*/ 0 w 1465413"/>
              <a:gd name="connsiteY3" fmla="*/ 1523377 h 1523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5413" h="1523377">
                <a:moveTo>
                  <a:pt x="1465413" y="0"/>
                </a:moveTo>
                <a:lnTo>
                  <a:pt x="1465413" y="1244039"/>
                </a:lnTo>
                <a:lnTo>
                  <a:pt x="1196704" y="1523377"/>
                </a:lnTo>
                <a:lnTo>
                  <a:pt x="0" y="1523377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араллелограмм 10">
            <a:extLst>
              <a:ext uri="{FF2B5EF4-FFF2-40B4-BE49-F238E27FC236}">
                <a16:creationId xmlns:a16="http://schemas.microsoft.com/office/drawing/2014/main" id="{F49C9FF9-DE43-4D1D-95D0-0E28AF19877B}"/>
              </a:ext>
            </a:extLst>
          </p:cNvPr>
          <p:cNvSpPr/>
          <p:nvPr/>
        </p:nvSpPr>
        <p:spPr>
          <a:xfrm>
            <a:off x="1450951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араллелограмм 11">
            <a:extLst>
              <a:ext uri="{FF2B5EF4-FFF2-40B4-BE49-F238E27FC236}">
                <a16:creationId xmlns:a16="http://schemas.microsoft.com/office/drawing/2014/main" id="{F425DAFD-1B29-415B-9704-2E332FB65534}"/>
              </a:ext>
            </a:extLst>
          </p:cNvPr>
          <p:cNvSpPr/>
          <p:nvPr/>
        </p:nvSpPr>
        <p:spPr>
          <a:xfrm>
            <a:off x="3843613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Параллелограмм 12">
            <a:extLst>
              <a:ext uri="{FF2B5EF4-FFF2-40B4-BE49-F238E27FC236}">
                <a16:creationId xmlns:a16="http://schemas.microsoft.com/office/drawing/2014/main" id="{998314EC-5479-4B3A-B38D-053EE212E841}"/>
              </a:ext>
            </a:extLst>
          </p:cNvPr>
          <p:cNvSpPr/>
          <p:nvPr/>
        </p:nvSpPr>
        <p:spPr>
          <a:xfrm>
            <a:off x="6236274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6214A511-888A-4563-85FF-ACEA85EBFFDB}"/>
              </a:ext>
            </a:extLst>
          </p:cNvPr>
          <p:cNvSpPr/>
          <p:nvPr/>
        </p:nvSpPr>
        <p:spPr>
          <a:xfrm>
            <a:off x="8628932" y="3423086"/>
            <a:ext cx="3563069" cy="3434914"/>
          </a:xfrm>
          <a:custGeom>
            <a:avLst/>
            <a:gdLst>
              <a:gd name="connsiteX0" fmla="*/ 3304216 w 3563069"/>
              <a:gd name="connsiteY0" fmla="*/ 0 h 3434914"/>
              <a:gd name="connsiteX1" fmla="*/ 3563069 w 3563069"/>
              <a:gd name="connsiteY1" fmla="*/ 0 h 3434914"/>
              <a:gd name="connsiteX2" fmla="*/ 3563069 w 3563069"/>
              <a:gd name="connsiteY2" fmla="*/ 974948 h 3434914"/>
              <a:gd name="connsiteX3" fmla="*/ 1196704 w 3563069"/>
              <a:gd name="connsiteY3" fmla="*/ 3434914 h 3434914"/>
              <a:gd name="connsiteX4" fmla="*/ 0 w 3563069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3069" h="3434914">
                <a:moveTo>
                  <a:pt x="3304216" y="0"/>
                </a:moveTo>
                <a:lnTo>
                  <a:pt x="3563069" y="0"/>
                </a:lnTo>
                <a:lnTo>
                  <a:pt x="3563069" y="974948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араллелограмм 14">
            <a:extLst>
              <a:ext uri="{FF2B5EF4-FFF2-40B4-BE49-F238E27FC236}">
                <a16:creationId xmlns:a16="http://schemas.microsoft.com/office/drawing/2014/main" id="{31F734ED-68BC-42E0-8B68-128A5E70D998}"/>
              </a:ext>
            </a:extLst>
          </p:cNvPr>
          <p:cNvSpPr/>
          <p:nvPr/>
        </p:nvSpPr>
        <p:spPr>
          <a:xfrm>
            <a:off x="116302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Полилиния: фигура 34">
            <a:extLst>
              <a:ext uri="{FF2B5EF4-FFF2-40B4-BE49-F238E27FC236}">
                <a16:creationId xmlns:a16="http://schemas.microsoft.com/office/drawing/2014/main" id="{9725B0E4-7EE0-4DAD-9228-52E5FF35C598}"/>
              </a:ext>
            </a:extLst>
          </p:cNvPr>
          <p:cNvSpPr/>
          <p:nvPr/>
        </p:nvSpPr>
        <p:spPr>
          <a:xfrm>
            <a:off x="0" y="3423086"/>
            <a:ext cx="3566290" cy="3434914"/>
          </a:xfrm>
          <a:custGeom>
            <a:avLst/>
            <a:gdLst>
              <a:gd name="connsiteX0" fmla="*/ 2369586 w 3566290"/>
              <a:gd name="connsiteY0" fmla="*/ 0 h 3434914"/>
              <a:gd name="connsiteX1" fmla="*/ 3566290 w 3566290"/>
              <a:gd name="connsiteY1" fmla="*/ 0 h 3434914"/>
              <a:gd name="connsiteX2" fmla="*/ 262074 w 3566290"/>
              <a:gd name="connsiteY2" fmla="*/ 3434914 h 3434914"/>
              <a:gd name="connsiteX3" fmla="*/ 0 w 3566290"/>
              <a:gd name="connsiteY3" fmla="*/ 3434914 h 3434914"/>
              <a:gd name="connsiteX4" fmla="*/ 0 w 3566290"/>
              <a:gd name="connsiteY4" fmla="*/ 246331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6290" h="3434914">
                <a:moveTo>
                  <a:pt x="2369586" y="0"/>
                </a:moveTo>
                <a:lnTo>
                  <a:pt x="3566290" y="0"/>
                </a:lnTo>
                <a:lnTo>
                  <a:pt x="262074" y="3434914"/>
                </a:lnTo>
                <a:lnTo>
                  <a:pt x="0" y="3434914"/>
                </a:lnTo>
                <a:lnTo>
                  <a:pt x="0" y="2463315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id="{06D2A420-D43F-40FC-9401-D5154F54DB05}"/>
              </a:ext>
            </a:extLst>
          </p:cNvPr>
          <p:cNvSpPr/>
          <p:nvPr/>
        </p:nvSpPr>
        <p:spPr>
          <a:xfrm>
            <a:off x="1" y="0"/>
            <a:ext cx="3453117" cy="3434914"/>
          </a:xfrm>
          <a:custGeom>
            <a:avLst/>
            <a:gdLst>
              <a:gd name="connsiteX0" fmla="*/ 2256413 w 3453117"/>
              <a:gd name="connsiteY0" fmla="*/ 0 h 3434914"/>
              <a:gd name="connsiteX1" fmla="*/ 3453117 w 3453117"/>
              <a:gd name="connsiteY1" fmla="*/ 0 h 3434914"/>
              <a:gd name="connsiteX2" fmla="*/ 148901 w 3453117"/>
              <a:gd name="connsiteY2" fmla="*/ 3434914 h 3434914"/>
              <a:gd name="connsiteX3" fmla="*/ 0 w 3453117"/>
              <a:gd name="connsiteY3" fmla="*/ 3434914 h 3434914"/>
              <a:gd name="connsiteX4" fmla="*/ 0 w 3453117"/>
              <a:gd name="connsiteY4" fmla="*/ 234566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3117" h="3434914">
                <a:moveTo>
                  <a:pt x="2256413" y="0"/>
                </a:moveTo>
                <a:lnTo>
                  <a:pt x="3453117" y="0"/>
                </a:lnTo>
                <a:lnTo>
                  <a:pt x="148901" y="3434914"/>
                </a:lnTo>
                <a:lnTo>
                  <a:pt x="0" y="3434914"/>
                </a:lnTo>
                <a:lnTo>
                  <a:pt x="0" y="2345665"/>
                </a:lnTo>
                <a:close/>
              </a:path>
            </a:pathLst>
          </a:custGeom>
          <a:gradFill>
            <a:gsLst>
              <a:gs pos="0">
                <a:schemeClr val="tx2">
                  <a:lumMod val="75000"/>
                </a:scheme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Полилиния: фигура 31">
            <a:extLst>
              <a:ext uri="{FF2B5EF4-FFF2-40B4-BE49-F238E27FC236}">
                <a16:creationId xmlns:a16="http://schemas.microsoft.com/office/drawing/2014/main" id="{C2D606E4-CD58-4A76-ADB5-52BB86319F80}"/>
              </a:ext>
            </a:extLst>
          </p:cNvPr>
          <p:cNvSpPr/>
          <p:nvPr/>
        </p:nvSpPr>
        <p:spPr>
          <a:xfrm>
            <a:off x="1" y="3423087"/>
            <a:ext cx="1355463" cy="1409079"/>
          </a:xfrm>
          <a:custGeom>
            <a:avLst/>
            <a:gdLst>
              <a:gd name="connsiteX0" fmla="*/ 158759 w 1355463"/>
              <a:gd name="connsiteY0" fmla="*/ 0 h 1409079"/>
              <a:gd name="connsiteX1" fmla="*/ 1355463 w 1355463"/>
              <a:gd name="connsiteY1" fmla="*/ 0 h 1409079"/>
              <a:gd name="connsiteX2" fmla="*/ 0 w 1355463"/>
              <a:gd name="connsiteY2" fmla="*/ 1409079 h 1409079"/>
              <a:gd name="connsiteX3" fmla="*/ 0 w 1355463"/>
              <a:gd name="connsiteY3" fmla="*/ 165039 h 1409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5463" h="1409079">
                <a:moveTo>
                  <a:pt x="158759" y="0"/>
                </a:moveTo>
                <a:lnTo>
                  <a:pt x="1355463" y="0"/>
                </a:lnTo>
                <a:lnTo>
                  <a:pt x="0" y="1409079"/>
                </a:lnTo>
                <a:lnTo>
                  <a:pt x="0" y="165039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109866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круговым паттерном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BFF2F70-EEE1-4E97-8FB6-5F7221F40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686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4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85022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1089024"/>
            <a:ext cx="460789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25134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говая 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4A61B867-AAAA-4DAF-8D60-936029F21D1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291959" y="1956787"/>
            <a:ext cx="3642366" cy="3642366"/>
          </a:xfrm>
          <a:custGeom>
            <a:avLst/>
            <a:gdLst>
              <a:gd name="connsiteX0" fmla="*/ 858950 w 1717900"/>
              <a:gd name="connsiteY0" fmla="*/ 0 h 1717900"/>
              <a:gd name="connsiteX1" fmla="*/ 1717900 w 1717900"/>
              <a:gd name="connsiteY1" fmla="*/ 858950 h 1717900"/>
              <a:gd name="connsiteX2" fmla="*/ 858950 w 1717900"/>
              <a:gd name="connsiteY2" fmla="*/ 1717900 h 1717900"/>
              <a:gd name="connsiteX3" fmla="*/ 0 w 1717900"/>
              <a:gd name="connsiteY3" fmla="*/ 858950 h 1717900"/>
              <a:gd name="connsiteX4" fmla="*/ 858950 w 1717900"/>
              <a:gd name="connsiteY4" fmla="*/ 0 h 17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900" h="1717900">
                <a:moveTo>
                  <a:pt x="858950" y="0"/>
                </a:moveTo>
                <a:cubicBezTo>
                  <a:pt x="1333335" y="0"/>
                  <a:pt x="1717900" y="384565"/>
                  <a:pt x="1717900" y="858950"/>
                </a:cubicBezTo>
                <a:cubicBezTo>
                  <a:pt x="1717900" y="1333335"/>
                  <a:pt x="1333335" y="1717900"/>
                  <a:pt x="858950" y="1717900"/>
                </a:cubicBezTo>
                <a:cubicBezTo>
                  <a:pt x="384565" y="1717900"/>
                  <a:pt x="0" y="1333335"/>
                  <a:pt x="0" y="858950"/>
                </a:cubicBezTo>
                <a:cubicBezTo>
                  <a:pt x="0" y="384565"/>
                  <a:pt x="384565" y="0"/>
                  <a:pt x="8589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3425B92F-5C4B-4673-A604-90D9AD5F6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76BFD2CC-25DB-4092-A11F-B9D50400E2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6138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6330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5" name="Рисунок 4" descr="Изображение выглядит как электроника, компьютер, ноутбук, монитор&#10;&#10;Автоматически созданное описание">
            <a:extLst>
              <a:ext uri="{FF2B5EF4-FFF2-40B4-BE49-F238E27FC236}">
                <a16:creationId xmlns:a16="http://schemas.microsoft.com/office/drawing/2014/main" id="{6F8DE449-93F0-4B3E-BF6E-DA70302D31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40242" y="1569061"/>
            <a:ext cx="7375008" cy="4421496"/>
          </a:xfrm>
          <a:prstGeom prst="rect">
            <a:avLst/>
          </a:prstGeom>
        </p:spPr>
      </p:pic>
      <p:sp>
        <p:nvSpPr>
          <p:cNvPr id="6" name="Рисунок 5">
            <a:extLst>
              <a:ext uri="{FF2B5EF4-FFF2-40B4-BE49-F238E27FC236}">
                <a16:creationId xmlns:a16="http://schemas.microsoft.com/office/drawing/2014/main" id="{8CE9FA37-E03F-4EEB-9F99-4C952FF194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84534" y="1896378"/>
            <a:ext cx="5686425" cy="3570971"/>
          </a:xfrm>
          <a:prstGeom prst="rect">
            <a:avLst/>
          </a:prstGeom>
          <a:solidFill>
            <a:schemeClr val="bg1"/>
          </a:solidFill>
          <a:ln w="57150">
            <a:solidFill>
              <a:schemeClr val="tx1"/>
            </a:solidFill>
          </a:ln>
        </p:spPr>
        <p:txBody>
          <a:bodyPr anchor="ctr"/>
          <a:lstStyle>
            <a:lvl1pPr marL="0" indent="0" algn="ctr">
              <a:buNone/>
              <a:defRPr lang="ru-RU"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9958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6A1327C-FCD7-4D54-AF17-EC831750C1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32" t="27968" r="19918" b="5923"/>
          <a:stretch/>
        </p:blipFill>
        <p:spPr>
          <a:xfrm>
            <a:off x="-457201" y="1268423"/>
            <a:ext cx="8360229" cy="5589578"/>
          </a:xfrm>
          <a:prstGeom prst="rect">
            <a:avLst/>
          </a:prstGeom>
        </p:spPr>
      </p:pic>
      <p:sp>
        <p:nvSpPr>
          <p:cNvPr id="11" name="Рисунок 5">
            <a:extLst>
              <a:ext uri="{FF2B5EF4-FFF2-40B4-BE49-F238E27FC236}">
                <a16:creationId xmlns:a16="http://schemas.microsoft.com/office/drawing/2014/main" id="{EAA71A6E-20EF-4BCF-9DFF-2CB8AEA0B55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8800" y="1803401"/>
            <a:ext cx="5137150" cy="3873500"/>
          </a:xfrm>
          <a:prstGeom prst="roundRect">
            <a:avLst>
              <a:gd name="adj" fmla="val 1926"/>
            </a:avLst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lang="ru-RU"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8400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B99A217-0E5E-4E23-BC94-45403678DC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477" y="1001797"/>
            <a:ext cx="3533085" cy="5385644"/>
          </a:xfrm>
          <a:prstGeom prst="rect">
            <a:avLst/>
          </a:prstGeom>
        </p:spPr>
      </p:pic>
      <p:sp>
        <p:nvSpPr>
          <p:cNvPr id="9" name="Рисунок 5">
            <a:extLst>
              <a:ext uri="{FF2B5EF4-FFF2-40B4-BE49-F238E27FC236}">
                <a16:creationId xmlns:a16="http://schemas.microsoft.com/office/drawing/2014/main" id="{C8280DB4-9A69-46AB-8ED2-9C259D39C1C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1070" y="1703471"/>
            <a:ext cx="2238375" cy="3979863"/>
          </a:xfrm>
          <a:prstGeom prst="rect">
            <a:avLst/>
          </a:prstGeom>
          <a:ln w="57150">
            <a:noFill/>
          </a:ln>
        </p:spPr>
        <p:txBody>
          <a:bodyPr anchor="ctr"/>
          <a:lstStyle>
            <a:lvl1pPr marL="0" indent="0" algn="ctr">
              <a:buNone/>
              <a:defRPr lang="ru-RU"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013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pic>
        <p:nvPicPr>
          <p:cNvPr id="10" name="Рисунок 9" descr="Изображение выглядит как монитор, знак, сидит, фотография&#10;&#10;Автоматически созданное описание">
            <a:extLst>
              <a:ext uri="{FF2B5EF4-FFF2-40B4-BE49-F238E27FC236}">
                <a16:creationId xmlns:a16="http://schemas.microsoft.com/office/drawing/2014/main" id="{662B84DF-AD08-4683-8671-F7C73DA428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6181" y="1133173"/>
            <a:ext cx="3517972" cy="5322692"/>
          </a:xfrm>
          <a:prstGeom prst="rect">
            <a:avLst/>
          </a:prstGeom>
        </p:spPr>
      </p:pic>
      <p:sp>
        <p:nvSpPr>
          <p:cNvPr id="11" name="Рисунок 36">
            <a:extLst>
              <a:ext uri="{FF2B5EF4-FFF2-40B4-BE49-F238E27FC236}">
                <a16:creationId xmlns:a16="http://schemas.microsoft.com/office/drawing/2014/main" id="{3F22F2FE-3EF0-4977-B157-172050412F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8056" y="1281085"/>
            <a:ext cx="2233214" cy="4849619"/>
          </a:xfrm>
          <a:custGeom>
            <a:avLst/>
            <a:gdLst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0 w 2466975"/>
              <a:gd name="connsiteY17" fmla="*/ 0 h 5043488"/>
              <a:gd name="connsiteX18" fmla="*/ 2466975 w 2466975"/>
              <a:gd name="connsiteY18" fmla="*/ 0 h 5043488"/>
              <a:gd name="connsiteX19" fmla="*/ 2466975 w 2466975"/>
              <a:gd name="connsiteY19" fmla="*/ 5043488 h 5043488"/>
              <a:gd name="connsiteX20" fmla="*/ 0 w 2466975"/>
              <a:gd name="connsiteY20" fmla="*/ 5043488 h 5043488"/>
              <a:gd name="connsiteX0" fmla="*/ 438899 w 2562225"/>
              <a:gd name="connsiteY0" fmla="*/ 448695 h 5418138"/>
              <a:gd name="connsiteX1" fmla="*/ 210662 w 2562225"/>
              <a:gd name="connsiteY1" fmla="*/ 678213 h 5418138"/>
              <a:gd name="connsiteX2" fmla="*/ 210662 w 2562225"/>
              <a:gd name="connsiteY2" fmla="*/ 5068796 h 5418138"/>
              <a:gd name="connsiteX3" fmla="*/ 438899 w 2562225"/>
              <a:gd name="connsiteY3" fmla="*/ 5298314 h 5418138"/>
              <a:gd name="connsiteX4" fmla="*/ 2215639 w 2562225"/>
              <a:gd name="connsiteY4" fmla="*/ 5298314 h 5418138"/>
              <a:gd name="connsiteX5" fmla="*/ 2443876 w 2562225"/>
              <a:gd name="connsiteY5" fmla="*/ 5068796 h 5418138"/>
              <a:gd name="connsiteX6" fmla="*/ 2443876 w 2562225"/>
              <a:gd name="connsiteY6" fmla="*/ 678213 h 5418138"/>
              <a:gd name="connsiteX7" fmla="*/ 2215639 w 2562225"/>
              <a:gd name="connsiteY7" fmla="*/ 448695 h 5418138"/>
              <a:gd name="connsiteX8" fmla="*/ 1980734 w 2562225"/>
              <a:gd name="connsiteY8" fmla="*/ 448695 h 5418138"/>
              <a:gd name="connsiteX9" fmla="*/ 1948466 w 2562225"/>
              <a:gd name="connsiteY9" fmla="*/ 481143 h 5418138"/>
              <a:gd name="connsiteX10" fmla="*/ 1949757 w 2562225"/>
              <a:gd name="connsiteY10" fmla="*/ 498449 h 5418138"/>
              <a:gd name="connsiteX11" fmla="*/ 1819720 w 2562225"/>
              <a:gd name="connsiteY11" fmla="*/ 629865 h 5418138"/>
              <a:gd name="connsiteX12" fmla="*/ 835570 w 2562225"/>
              <a:gd name="connsiteY12" fmla="*/ 629865 h 5418138"/>
              <a:gd name="connsiteX13" fmla="*/ 704663 w 2562225"/>
              <a:gd name="connsiteY13" fmla="*/ 499544 h 5418138"/>
              <a:gd name="connsiteX14" fmla="*/ 705426 w 2562225"/>
              <a:gd name="connsiteY14" fmla="*/ 484713 h 5418138"/>
              <a:gd name="connsiteX15" fmla="*/ 705426 w 2562225"/>
              <a:gd name="connsiteY15" fmla="*/ 481143 h 5418138"/>
              <a:gd name="connsiteX16" fmla="*/ 673159 w 2562225"/>
              <a:gd name="connsiteY16" fmla="*/ 448695 h 5418138"/>
              <a:gd name="connsiteX17" fmla="*/ 438899 w 2562225"/>
              <a:gd name="connsiteY17" fmla="*/ 448695 h 5418138"/>
              <a:gd name="connsiteX18" fmla="*/ 0 w 2562225"/>
              <a:gd name="connsiteY18" fmla="*/ 0 h 5418138"/>
              <a:gd name="connsiteX19" fmla="*/ 2562225 w 2562225"/>
              <a:gd name="connsiteY19" fmla="*/ 374650 h 5418138"/>
              <a:gd name="connsiteX20" fmla="*/ 2562225 w 2562225"/>
              <a:gd name="connsiteY20" fmla="*/ 5418138 h 5418138"/>
              <a:gd name="connsiteX21" fmla="*/ 95250 w 2562225"/>
              <a:gd name="connsiteY21" fmla="*/ 5418138 h 5418138"/>
              <a:gd name="connsiteX22" fmla="*/ 0 w 2562225"/>
              <a:gd name="connsiteY22" fmla="*/ 0 h 5418138"/>
              <a:gd name="connsiteX0" fmla="*/ 343649 w 2466975"/>
              <a:gd name="connsiteY0" fmla="*/ 74045 h 5043488"/>
              <a:gd name="connsiteX1" fmla="*/ 115412 w 2466975"/>
              <a:gd name="connsiteY1" fmla="*/ 303563 h 5043488"/>
              <a:gd name="connsiteX2" fmla="*/ 115412 w 2466975"/>
              <a:gd name="connsiteY2" fmla="*/ 4694146 h 5043488"/>
              <a:gd name="connsiteX3" fmla="*/ 343649 w 2466975"/>
              <a:gd name="connsiteY3" fmla="*/ 4923664 h 5043488"/>
              <a:gd name="connsiteX4" fmla="*/ 2120389 w 2466975"/>
              <a:gd name="connsiteY4" fmla="*/ 4923664 h 5043488"/>
              <a:gd name="connsiteX5" fmla="*/ 2348626 w 2466975"/>
              <a:gd name="connsiteY5" fmla="*/ 4694146 h 5043488"/>
              <a:gd name="connsiteX6" fmla="*/ 2348626 w 2466975"/>
              <a:gd name="connsiteY6" fmla="*/ 303563 h 5043488"/>
              <a:gd name="connsiteX7" fmla="*/ 2120389 w 2466975"/>
              <a:gd name="connsiteY7" fmla="*/ 74045 h 5043488"/>
              <a:gd name="connsiteX8" fmla="*/ 1885484 w 2466975"/>
              <a:gd name="connsiteY8" fmla="*/ 74045 h 5043488"/>
              <a:gd name="connsiteX9" fmla="*/ 1853216 w 2466975"/>
              <a:gd name="connsiteY9" fmla="*/ 106493 h 5043488"/>
              <a:gd name="connsiteX10" fmla="*/ 1854507 w 2466975"/>
              <a:gd name="connsiteY10" fmla="*/ 123799 h 5043488"/>
              <a:gd name="connsiteX11" fmla="*/ 1724470 w 2466975"/>
              <a:gd name="connsiteY11" fmla="*/ 255215 h 5043488"/>
              <a:gd name="connsiteX12" fmla="*/ 740320 w 2466975"/>
              <a:gd name="connsiteY12" fmla="*/ 255215 h 5043488"/>
              <a:gd name="connsiteX13" fmla="*/ 609413 w 2466975"/>
              <a:gd name="connsiteY13" fmla="*/ 124894 h 5043488"/>
              <a:gd name="connsiteX14" fmla="*/ 610176 w 2466975"/>
              <a:gd name="connsiteY14" fmla="*/ 110063 h 5043488"/>
              <a:gd name="connsiteX15" fmla="*/ 610176 w 2466975"/>
              <a:gd name="connsiteY15" fmla="*/ 106493 h 5043488"/>
              <a:gd name="connsiteX16" fmla="*/ 577909 w 2466975"/>
              <a:gd name="connsiteY16" fmla="*/ 74045 h 5043488"/>
              <a:gd name="connsiteX17" fmla="*/ 343649 w 2466975"/>
              <a:gd name="connsiteY17" fmla="*/ 74045 h 5043488"/>
              <a:gd name="connsiteX18" fmla="*/ 0 w 2466975"/>
              <a:gd name="connsiteY18" fmla="*/ 5043488 h 5043488"/>
              <a:gd name="connsiteX19" fmla="*/ 2466975 w 2466975"/>
              <a:gd name="connsiteY19" fmla="*/ 0 h 5043488"/>
              <a:gd name="connsiteX20" fmla="*/ 2466975 w 2466975"/>
              <a:gd name="connsiteY20" fmla="*/ 5043488 h 5043488"/>
              <a:gd name="connsiteX21" fmla="*/ 0 w 2466975"/>
              <a:gd name="connsiteY21" fmla="*/ 5043488 h 5043488"/>
              <a:gd name="connsiteX0" fmla="*/ 343649 w 2466975"/>
              <a:gd name="connsiteY0" fmla="*/ 0 h 4969443"/>
              <a:gd name="connsiteX1" fmla="*/ 115412 w 2466975"/>
              <a:gd name="connsiteY1" fmla="*/ 229518 h 4969443"/>
              <a:gd name="connsiteX2" fmla="*/ 115412 w 2466975"/>
              <a:gd name="connsiteY2" fmla="*/ 4620101 h 4969443"/>
              <a:gd name="connsiteX3" fmla="*/ 343649 w 2466975"/>
              <a:gd name="connsiteY3" fmla="*/ 4849619 h 4969443"/>
              <a:gd name="connsiteX4" fmla="*/ 2120389 w 2466975"/>
              <a:gd name="connsiteY4" fmla="*/ 4849619 h 4969443"/>
              <a:gd name="connsiteX5" fmla="*/ 2348626 w 2466975"/>
              <a:gd name="connsiteY5" fmla="*/ 4620101 h 4969443"/>
              <a:gd name="connsiteX6" fmla="*/ 2348626 w 2466975"/>
              <a:gd name="connsiteY6" fmla="*/ 229518 h 4969443"/>
              <a:gd name="connsiteX7" fmla="*/ 2120389 w 2466975"/>
              <a:gd name="connsiteY7" fmla="*/ 0 h 4969443"/>
              <a:gd name="connsiteX8" fmla="*/ 1885484 w 2466975"/>
              <a:gd name="connsiteY8" fmla="*/ 0 h 4969443"/>
              <a:gd name="connsiteX9" fmla="*/ 1853216 w 2466975"/>
              <a:gd name="connsiteY9" fmla="*/ 32448 h 4969443"/>
              <a:gd name="connsiteX10" fmla="*/ 1854507 w 2466975"/>
              <a:gd name="connsiteY10" fmla="*/ 49754 h 4969443"/>
              <a:gd name="connsiteX11" fmla="*/ 1724470 w 2466975"/>
              <a:gd name="connsiteY11" fmla="*/ 181170 h 4969443"/>
              <a:gd name="connsiteX12" fmla="*/ 740320 w 2466975"/>
              <a:gd name="connsiteY12" fmla="*/ 181170 h 4969443"/>
              <a:gd name="connsiteX13" fmla="*/ 609413 w 2466975"/>
              <a:gd name="connsiteY13" fmla="*/ 50849 h 4969443"/>
              <a:gd name="connsiteX14" fmla="*/ 610176 w 2466975"/>
              <a:gd name="connsiteY14" fmla="*/ 36018 h 4969443"/>
              <a:gd name="connsiteX15" fmla="*/ 610176 w 2466975"/>
              <a:gd name="connsiteY15" fmla="*/ 32448 h 4969443"/>
              <a:gd name="connsiteX16" fmla="*/ 577909 w 2466975"/>
              <a:gd name="connsiteY16" fmla="*/ 0 h 4969443"/>
              <a:gd name="connsiteX17" fmla="*/ 343649 w 2466975"/>
              <a:gd name="connsiteY17" fmla="*/ 0 h 4969443"/>
              <a:gd name="connsiteX18" fmla="*/ 0 w 2466975"/>
              <a:gd name="connsiteY18" fmla="*/ 4969443 h 4969443"/>
              <a:gd name="connsiteX19" fmla="*/ 2466975 w 2466975"/>
              <a:gd name="connsiteY19" fmla="*/ 4969443 h 4969443"/>
              <a:gd name="connsiteX20" fmla="*/ 0 w 2466975"/>
              <a:gd name="connsiteY20" fmla="*/ 4969443 h 4969443"/>
              <a:gd name="connsiteX0" fmla="*/ 228237 w 2233214"/>
              <a:gd name="connsiteY0" fmla="*/ 0 h 4849619"/>
              <a:gd name="connsiteX1" fmla="*/ 0 w 2233214"/>
              <a:gd name="connsiteY1" fmla="*/ 229518 h 4849619"/>
              <a:gd name="connsiteX2" fmla="*/ 0 w 2233214"/>
              <a:gd name="connsiteY2" fmla="*/ 4620101 h 4849619"/>
              <a:gd name="connsiteX3" fmla="*/ 228237 w 2233214"/>
              <a:gd name="connsiteY3" fmla="*/ 4849619 h 4849619"/>
              <a:gd name="connsiteX4" fmla="*/ 2004977 w 2233214"/>
              <a:gd name="connsiteY4" fmla="*/ 4849619 h 4849619"/>
              <a:gd name="connsiteX5" fmla="*/ 2233214 w 2233214"/>
              <a:gd name="connsiteY5" fmla="*/ 4620101 h 4849619"/>
              <a:gd name="connsiteX6" fmla="*/ 2233214 w 2233214"/>
              <a:gd name="connsiteY6" fmla="*/ 229518 h 4849619"/>
              <a:gd name="connsiteX7" fmla="*/ 2004977 w 2233214"/>
              <a:gd name="connsiteY7" fmla="*/ 0 h 4849619"/>
              <a:gd name="connsiteX8" fmla="*/ 1770072 w 2233214"/>
              <a:gd name="connsiteY8" fmla="*/ 0 h 4849619"/>
              <a:gd name="connsiteX9" fmla="*/ 1737804 w 2233214"/>
              <a:gd name="connsiteY9" fmla="*/ 32448 h 4849619"/>
              <a:gd name="connsiteX10" fmla="*/ 1739095 w 2233214"/>
              <a:gd name="connsiteY10" fmla="*/ 49754 h 4849619"/>
              <a:gd name="connsiteX11" fmla="*/ 1609058 w 2233214"/>
              <a:gd name="connsiteY11" fmla="*/ 181170 h 4849619"/>
              <a:gd name="connsiteX12" fmla="*/ 624908 w 2233214"/>
              <a:gd name="connsiteY12" fmla="*/ 181170 h 4849619"/>
              <a:gd name="connsiteX13" fmla="*/ 494001 w 2233214"/>
              <a:gd name="connsiteY13" fmla="*/ 50849 h 4849619"/>
              <a:gd name="connsiteX14" fmla="*/ 494764 w 2233214"/>
              <a:gd name="connsiteY14" fmla="*/ 36018 h 4849619"/>
              <a:gd name="connsiteX15" fmla="*/ 494764 w 2233214"/>
              <a:gd name="connsiteY15" fmla="*/ 32448 h 4849619"/>
              <a:gd name="connsiteX16" fmla="*/ 462497 w 2233214"/>
              <a:gd name="connsiteY16" fmla="*/ 0 h 4849619"/>
              <a:gd name="connsiteX17" fmla="*/ 228237 w 2233214"/>
              <a:gd name="connsiteY17" fmla="*/ 0 h 4849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33214" h="4849619">
                <a:moveTo>
                  <a:pt x="228237" y="0"/>
                </a:moveTo>
                <a:cubicBezTo>
                  <a:pt x="102185" y="0"/>
                  <a:pt x="0" y="102759"/>
                  <a:pt x="0" y="229518"/>
                </a:cubicBezTo>
                <a:lnTo>
                  <a:pt x="0" y="4620101"/>
                </a:lnTo>
                <a:cubicBezTo>
                  <a:pt x="0" y="4746855"/>
                  <a:pt x="102185" y="4849619"/>
                  <a:pt x="228237" y="4849619"/>
                </a:cubicBezTo>
                <a:lnTo>
                  <a:pt x="2004977" y="4849619"/>
                </a:lnTo>
                <a:cubicBezTo>
                  <a:pt x="2131023" y="4849619"/>
                  <a:pt x="2233214" y="4746855"/>
                  <a:pt x="2233214" y="4620101"/>
                </a:cubicBezTo>
                <a:lnTo>
                  <a:pt x="2233214" y="229518"/>
                </a:lnTo>
                <a:cubicBezTo>
                  <a:pt x="2233214" y="102759"/>
                  <a:pt x="2131023" y="0"/>
                  <a:pt x="2004977" y="0"/>
                </a:cubicBezTo>
                <a:lnTo>
                  <a:pt x="1770072" y="0"/>
                </a:lnTo>
                <a:cubicBezTo>
                  <a:pt x="1752249" y="0"/>
                  <a:pt x="1737804" y="14528"/>
                  <a:pt x="1737804" y="32448"/>
                </a:cubicBezTo>
                <a:cubicBezTo>
                  <a:pt x="1738611" y="38182"/>
                  <a:pt x="1739041" y="43963"/>
                  <a:pt x="1739095" y="49754"/>
                </a:cubicBezTo>
                <a:cubicBezTo>
                  <a:pt x="1739278" y="122154"/>
                  <a:pt x="1681057" y="180990"/>
                  <a:pt x="1609058" y="181170"/>
                </a:cubicBezTo>
                <a:lnTo>
                  <a:pt x="624908" y="181170"/>
                </a:lnTo>
                <a:cubicBezTo>
                  <a:pt x="552973" y="181534"/>
                  <a:pt x="494364" y="123188"/>
                  <a:pt x="494001" y="50849"/>
                </a:cubicBezTo>
                <a:cubicBezTo>
                  <a:pt x="493977" y="45895"/>
                  <a:pt x="494230" y="40943"/>
                  <a:pt x="494764" y="36018"/>
                </a:cubicBezTo>
                <a:lnTo>
                  <a:pt x="494764" y="32448"/>
                </a:lnTo>
                <a:cubicBezTo>
                  <a:pt x="494764" y="14528"/>
                  <a:pt x="480318" y="0"/>
                  <a:pt x="462497" y="0"/>
                </a:cubicBezTo>
                <a:lnTo>
                  <a:pt x="228237" y="0"/>
                </a:lnTo>
                <a:close/>
              </a:path>
            </a:pathLst>
          </a:custGeom>
          <a:ln w="57150">
            <a:noFill/>
          </a:ln>
        </p:spPr>
        <p:txBody>
          <a:bodyPr anchor="ctr"/>
          <a:lstStyle>
            <a:lvl1pPr marL="0" indent="0" algn="ctr">
              <a:buNone/>
              <a:defRPr lang="ru-RU" sz="1400" dirty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228600" lvl="0" indent="-22860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3677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CF7F3C4B-6A9E-459C-8F62-209BB2077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7989" y="644290"/>
            <a:ext cx="5569423" cy="5569423"/>
          </a:xfrm>
          <a:custGeom>
            <a:avLst/>
            <a:gdLst>
              <a:gd name="connsiteX0" fmla="*/ 0 w 5569423"/>
              <a:gd name="connsiteY0" fmla="*/ 0 h 5569423"/>
              <a:gd name="connsiteX1" fmla="*/ 5569423 w 5569423"/>
              <a:gd name="connsiteY1" fmla="*/ 0 h 5569423"/>
              <a:gd name="connsiteX2" fmla="*/ 5569423 w 5569423"/>
              <a:gd name="connsiteY2" fmla="*/ 5569423 h 5569423"/>
              <a:gd name="connsiteX3" fmla="*/ 0 w 5569423"/>
              <a:gd name="connsiteY3" fmla="*/ 5569423 h 5569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69423" h="5569423">
                <a:moveTo>
                  <a:pt x="0" y="0"/>
                </a:moveTo>
                <a:lnTo>
                  <a:pt x="5569423" y="0"/>
                </a:lnTo>
                <a:lnTo>
                  <a:pt x="5569423" y="5569423"/>
                </a:lnTo>
                <a:lnTo>
                  <a:pt x="0" y="556942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7230235" y="-935"/>
            <a:ext cx="4961765" cy="2892794"/>
            <a:chOff x="7239008" y="999"/>
            <a:chExt cx="4961765" cy="2892794"/>
          </a:xfrm>
        </p:grpSpPr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932D6109-A8A1-43E9-A7AE-AA48C2C31BA5}"/>
                </a:ext>
              </a:extLst>
            </p:cNvPr>
            <p:cNvSpPr/>
            <p:nvPr/>
          </p:nvSpPr>
          <p:spPr>
            <a:xfrm>
              <a:off x="8479204" y="827687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3073 h 1778749"/>
                <a:gd name="connsiteX3" fmla="*/ 1185676 w 1778749"/>
                <a:gd name="connsiteY3" fmla="*/ 593073 h 1778749"/>
                <a:gd name="connsiteX4" fmla="*/ 1185676 w 1778749"/>
                <a:gd name="connsiteY4" fmla="*/ 1778750 h 1778749"/>
                <a:gd name="connsiteX5" fmla="*/ 1778750 w 1778749"/>
                <a:gd name="connsiteY5" fmla="*/ 1186147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5676" y="593073"/>
                  </a:lnTo>
                  <a:lnTo>
                    <a:pt x="1185676" y="177875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chemeClr val="tx2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33EBAFA1-EFC8-495F-BCD6-BE4EB9185DC6}"/>
                </a:ext>
              </a:extLst>
            </p:cNvPr>
            <p:cNvSpPr/>
            <p:nvPr/>
          </p:nvSpPr>
          <p:spPr>
            <a:xfrm>
              <a:off x="10546087" y="414179"/>
              <a:ext cx="1240195" cy="1240523"/>
            </a:xfrm>
            <a:custGeom>
              <a:avLst/>
              <a:gdLst>
                <a:gd name="connsiteX0" fmla="*/ 1778750 w 1778749"/>
                <a:gd name="connsiteY0" fmla="*/ 0 h 1779220"/>
                <a:gd name="connsiteX1" fmla="*/ 593073 w 1778749"/>
                <a:gd name="connsiteY1" fmla="*/ 0 h 1779220"/>
                <a:gd name="connsiteX2" fmla="*/ 0 w 1778749"/>
                <a:gd name="connsiteY2" fmla="*/ 593073 h 1779220"/>
                <a:gd name="connsiteX3" fmla="*/ 1186147 w 1778749"/>
                <a:gd name="connsiteY3" fmla="*/ 593073 h 1779220"/>
                <a:gd name="connsiteX4" fmla="*/ 1186147 w 1778749"/>
                <a:gd name="connsiteY4" fmla="*/ 1779220 h 1779220"/>
                <a:gd name="connsiteX5" fmla="*/ 1778750 w 1778749"/>
                <a:gd name="connsiteY5" fmla="*/ 1186147 h 17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9220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6147" y="593073"/>
                  </a:lnTo>
                  <a:lnTo>
                    <a:pt x="1186147" y="177922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chemeClr val="tx2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6C7BBB59-47A5-4A40-8191-24ABF08A5E82}"/>
                </a:ext>
              </a:extLst>
            </p:cNvPr>
            <p:cNvSpPr/>
            <p:nvPr/>
          </p:nvSpPr>
          <p:spPr>
            <a:xfrm>
              <a:off x="9305891" y="999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2603 h 1778749"/>
                <a:gd name="connsiteX3" fmla="*/ 1186147 w 1778749"/>
                <a:gd name="connsiteY3" fmla="*/ 592603 h 1778749"/>
                <a:gd name="connsiteX4" fmla="*/ 1186147 w 1778749"/>
                <a:gd name="connsiteY4" fmla="*/ 1778750 h 1778749"/>
                <a:gd name="connsiteX5" fmla="*/ 1778750 w 1778749"/>
                <a:gd name="connsiteY5" fmla="*/ 1185676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2603"/>
                  </a:lnTo>
                  <a:lnTo>
                    <a:pt x="1186147" y="592603"/>
                  </a:lnTo>
                  <a:lnTo>
                    <a:pt x="1186147" y="1778750"/>
                  </a:lnTo>
                  <a:lnTo>
                    <a:pt x="1778750" y="11856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8E8F8E"/>
                </a:gs>
                <a:gs pos="37000">
                  <a:srgbClr val="4E5555"/>
                </a:gs>
                <a:gs pos="82486">
                  <a:srgbClr val="C4C4C5"/>
                </a:gs>
                <a:gs pos="100000">
                  <a:srgbClr val="9F9F9F"/>
                </a:gs>
              </a:gsLst>
              <a:lin ang="2700000" scaled="1"/>
              <a:tileRect/>
            </a:gra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id="{75207CCA-B811-4758-B936-6FA3657A6F74}"/>
                </a:ext>
              </a:extLst>
            </p:cNvPr>
            <p:cNvSpPr/>
            <p:nvPr/>
          </p:nvSpPr>
          <p:spPr>
            <a:xfrm>
              <a:off x="7239008" y="414179"/>
              <a:ext cx="1240195" cy="1240194"/>
            </a:xfrm>
            <a:custGeom>
              <a:avLst/>
              <a:gdLst>
                <a:gd name="connsiteX0" fmla="*/ 1778750 w 1778749"/>
                <a:gd name="connsiteY0" fmla="*/ 0 h 1778749"/>
                <a:gd name="connsiteX1" fmla="*/ 593073 w 1778749"/>
                <a:gd name="connsiteY1" fmla="*/ 0 h 1778749"/>
                <a:gd name="connsiteX2" fmla="*/ 0 w 1778749"/>
                <a:gd name="connsiteY2" fmla="*/ 593073 h 1778749"/>
                <a:gd name="connsiteX3" fmla="*/ 1185676 w 1778749"/>
                <a:gd name="connsiteY3" fmla="*/ 593073 h 1778749"/>
                <a:gd name="connsiteX4" fmla="*/ 1185676 w 1778749"/>
                <a:gd name="connsiteY4" fmla="*/ 1778750 h 1778749"/>
                <a:gd name="connsiteX5" fmla="*/ 1778750 w 1778749"/>
                <a:gd name="connsiteY5" fmla="*/ 1186147 h 177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8749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5676" y="593073"/>
                  </a:lnTo>
                  <a:lnTo>
                    <a:pt x="1185676" y="1778750"/>
                  </a:lnTo>
                  <a:lnTo>
                    <a:pt x="1778750" y="118614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8E8F8E"/>
                </a:gs>
                <a:gs pos="37000">
                  <a:srgbClr val="4E5555"/>
                </a:gs>
                <a:gs pos="82486">
                  <a:srgbClr val="C4C4C5"/>
                </a:gs>
                <a:gs pos="100000">
                  <a:srgbClr val="9F9F9F"/>
                </a:gs>
              </a:gsLst>
              <a:lin ang="2700000" scaled="1"/>
              <a:tileRect/>
            </a:gra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30">
              <a:extLst>
                <a:ext uri="{FF2B5EF4-FFF2-40B4-BE49-F238E27FC236}">
                  <a16:creationId xmlns:a16="http://schemas.microsoft.com/office/drawing/2014/main" id="{33EBAFA1-EFC8-495F-BCD6-BE4EB9185DC6}"/>
                </a:ext>
              </a:extLst>
            </p:cNvPr>
            <p:cNvSpPr/>
            <p:nvPr userDrawn="1"/>
          </p:nvSpPr>
          <p:spPr>
            <a:xfrm>
              <a:off x="10960578" y="1653270"/>
              <a:ext cx="1240195" cy="1240523"/>
            </a:xfrm>
            <a:custGeom>
              <a:avLst/>
              <a:gdLst>
                <a:gd name="connsiteX0" fmla="*/ 1778750 w 1778749"/>
                <a:gd name="connsiteY0" fmla="*/ 0 h 1779220"/>
                <a:gd name="connsiteX1" fmla="*/ 593073 w 1778749"/>
                <a:gd name="connsiteY1" fmla="*/ 0 h 1779220"/>
                <a:gd name="connsiteX2" fmla="*/ 0 w 1778749"/>
                <a:gd name="connsiteY2" fmla="*/ 593073 h 1779220"/>
                <a:gd name="connsiteX3" fmla="*/ 1186147 w 1778749"/>
                <a:gd name="connsiteY3" fmla="*/ 593073 h 1779220"/>
                <a:gd name="connsiteX4" fmla="*/ 1186147 w 1778749"/>
                <a:gd name="connsiteY4" fmla="*/ 1779220 h 1779220"/>
                <a:gd name="connsiteX5" fmla="*/ 1778750 w 1778749"/>
                <a:gd name="connsiteY5" fmla="*/ 1186147 h 17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8749" h="1779220">
                  <a:moveTo>
                    <a:pt x="1778750" y="0"/>
                  </a:moveTo>
                  <a:lnTo>
                    <a:pt x="593073" y="0"/>
                  </a:lnTo>
                  <a:lnTo>
                    <a:pt x="0" y="593073"/>
                  </a:lnTo>
                  <a:lnTo>
                    <a:pt x="1186147" y="593073"/>
                  </a:lnTo>
                  <a:lnTo>
                    <a:pt x="1186147" y="1779220"/>
                  </a:lnTo>
                  <a:lnTo>
                    <a:pt x="1778750" y="1186147"/>
                  </a:lnTo>
                  <a:close/>
                </a:path>
              </a:pathLst>
            </a:custGeom>
            <a:solidFill>
              <a:srgbClr val="FF0000"/>
            </a:solidFill>
            <a:ln w="47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18796550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CF7F3C4B-6A9E-459C-8F62-209BB20777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35299" y="1371599"/>
            <a:ext cx="4114804" cy="4114802"/>
          </a:xfrm>
          <a:custGeom>
            <a:avLst/>
            <a:gdLst>
              <a:gd name="connsiteX0" fmla="*/ 0 w 5569423"/>
              <a:gd name="connsiteY0" fmla="*/ 0 h 5569423"/>
              <a:gd name="connsiteX1" fmla="*/ 5569423 w 5569423"/>
              <a:gd name="connsiteY1" fmla="*/ 0 h 5569423"/>
              <a:gd name="connsiteX2" fmla="*/ 5569423 w 5569423"/>
              <a:gd name="connsiteY2" fmla="*/ 5569423 h 5569423"/>
              <a:gd name="connsiteX3" fmla="*/ 0 w 5569423"/>
              <a:gd name="connsiteY3" fmla="*/ 5569423 h 5569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69423" h="5569423">
                <a:moveTo>
                  <a:pt x="0" y="0"/>
                </a:moveTo>
                <a:lnTo>
                  <a:pt x="5569423" y="0"/>
                </a:lnTo>
                <a:lnTo>
                  <a:pt x="5569423" y="5569423"/>
                </a:lnTo>
                <a:lnTo>
                  <a:pt x="0" y="556942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1611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705B174-2BCB-475F-B5F7-2AC86EA893A5}"/>
              </a:ext>
            </a:extLst>
          </p:cNvPr>
          <p:cNvSpPr/>
          <p:nvPr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id="{0279107F-963C-4D85-BC66-580B5F59AE9D}"/>
              </a:ext>
            </a:extLst>
          </p:cNvPr>
          <p:cNvSpPr/>
          <p:nvPr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5E0FE2BA-B08F-41AC-B695-558ED857DAAF}"/>
              </a:ext>
            </a:extLst>
          </p:cNvPr>
          <p:cNvSpPr/>
          <p:nvPr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F54BF84A-3A49-46E7-BBCD-BB696C95E90B}"/>
              </a:ext>
            </a:extLst>
          </p:cNvPr>
          <p:cNvSpPr/>
          <p:nvPr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0">
                <a:schemeClr val="accent2">
                  <a:alpha val="0"/>
                </a:schemeClr>
              </a:gs>
              <a:gs pos="67200">
                <a:srgbClr val="002F6C">
                  <a:alpha val="26000"/>
                </a:srgbClr>
              </a:gs>
              <a:gs pos="100000">
                <a:schemeClr val="accent2"/>
              </a:gs>
            </a:gsLst>
            <a:lin ang="18000000" scaled="0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E9AB1E05-C0C5-4FDD-B60D-054B6347BF52}"/>
              </a:ext>
            </a:extLst>
          </p:cNvPr>
          <p:cNvSpPr/>
          <p:nvPr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4A30386-E577-43D2-B52B-1B7FBAD6C03D}"/>
              </a:ext>
            </a:extLst>
          </p:cNvPr>
          <p:cNvSpPr/>
          <p:nvPr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id="{7EDCF66B-6839-42A8-8548-EEB6D7A54DD9}"/>
              </a:ext>
            </a:extLst>
          </p:cNvPr>
          <p:cNvSpPr/>
          <p:nvPr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9E8F511C-6A5E-4D3B-B61B-7480067C96BF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id="{18D1C764-45FD-4989-8FCD-7756DC96AC35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230A1D29-FF65-4E2B-95A0-CFD924F1F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810048"/>
            <a:ext cx="6079898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25258419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круги 2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38308" y="-7941"/>
            <a:ext cx="3953692" cy="6873882"/>
          </a:xfrm>
          <a:prstGeom prst="rect">
            <a:avLst/>
          </a:prstGeom>
        </p:spPr>
      </p:pic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tx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230A1D29-FF65-4E2B-95A0-CFD924F1F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810048"/>
            <a:ext cx="6079898" cy="2979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29806256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 шаблона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9E389DCC-8568-4D78-BB75-82983A32AC59}"/>
              </a:ext>
            </a:extLst>
          </p:cNvPr>
          <p:cNvGrpSpPr/>
          <p:nvPr userDrawn="1"/>
        </p:nvGrpSpPr>
        <p:grpSpPr>
          <a:xfrm>
            <a:off x="-13671" y="0"/>
            <a:ext cx="12205671" cy="6858001"/>
            <a:chOff x="-13671" y="0"/>
            <a:chExt cx="12205671" cy="6858001"/>
          </a:xfrm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B85A1A7C-F74A-452F-8FEA-3F27AD259ADC}"/>
                </a:ext>
              </a:extLst>
            </p:cNvPr>
            <p:cNvSpPr/>
            <p:nvPr userDrawn="1"/>
          </p:nvSpPr>
          <p:spPr>
            <a:xfrm>
              <a:off x="0" y="2606474"/>
              <a:ext cx="1600250" cy="4251526"/>
            </a:xfrm>
            <a:custGeom>
              <a:avLst/>
              <a:gdLst>
                <a:gd name="connsiteX0" fmla="*/ 0 w 1600250"/>
                <a:gd name="connsiteY0" fmla="*/ 0 h 4251526"/>
                <a:gd name="connsiteX1" fmla="*/ 1600250 w 1600250"/>
                <a:gd name="connsiteY1" fmla="*/ 0 h 4251526"/>
                <a:gd name="connsiteX2" fmla="*/ 1600250 w 1600250"/>
                <a:gd name="connsiteY2" fmla="*/ 3227840 h 4251526"/>
                <a:gd name="connsiteX3" fmla="*/ 576564 w 1600250"/>
                <a:gd name="connsiteY3" fmla="*/ 4251526 h 4251526"/>
                <a:gd name="connsiteX4" fmla="*/ 0 w 1600250"/>
                <a:gd name="connsiteY4" fmla="*/ 4251526 h 4251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0250" h="4251526">
                  <a:moveTo>
                    <a:pt x="0" y="0"/>
                  </a:moveTo>
                  <a:lnTo>
                    <a:pt x="1600250" y="0"/>
                  </a:lnTo>
                  <a:lnTo>
                    <a:pt x="1600250" y="3227840"/>
                  </a:lnTo>
                  <a:lnTo>
                    <a:pt x="576564" y="4251526"/>
                  </a:lnTo>
                  <a:lnTo>
                    <a:pt x="0" y="425152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8BC987C9-F278-4C15-8EFD-F301898FF0DE}"/>
                </a:ext>
              </a:extLst>
            </p:cNvPr>
            <p:cNvSpPr/>
            <p:nvPr userDrawn="1"/>
          </p:nvSpPr>
          <p:spPr>
            <a:xfrm>
              <a:off x="1600250" y="4220394"/>
              <a:ext cx="4841760" cy="2637607"/>
            </a:xfrm>
            <a:custGeom>
              <a:avLst/>
              <a:gdLst>
                <a:gd name="connsiteX0" fmla="*/ 1613920 w 4841760"/>
                <a:gd name="connsiteY0" fmla="*/ 0 h 2637607"/>
                <a:gd name="connsiteX1" fmla="*/ 4841760 w 4841760"/>
                <a:gd name="connsiteY1" fmla="*/ 0 h 2637607"/>
                <a:gd name="connsiteX2" fmla="*/ 4841760 w 4841760"/>
                <a:gd name="connsiteY2" fmla="*/ 2637607 h 2637607"/>
                <a:gd name="connsiteX3" fmla="*/ 3227840 w 4841760"/>
                <a:gd name="connsiteY3" fmla="*/ 2637607 h 2637607"/>
                <a:gd name="connsiteX4" fmla="*/ 3227840 w 4841760"/>
                <a:gd name="connsiteY4" fmla="*/ 1613920 h 2637607"/>
                <a:gd name="connsiteX5" fmla="*/ 0 w 4841760"/>
                <a:gd name="connsiteY5" fmla="*/ 1613920 h 2637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841760" h="2637607">
                  <a:moveTo>
                    <a:pt x="1613920" y="0"/>
                  </a:moveTo>
                  <a:lnTo>
                    <a:pt x="4841760" y="0"/>
                  </a:lnTo>
                  <a:lnTo>
                    <a:pt x="4841760" y="2637607"/>
                  </a:lnTo>
                  <a:lnTo>
                    <a:pt x="3227840" y="2637607"/>
                  </a:lnTo>
                  <a:lnTo>
                    <a:pt x="3227840" y="1613920"/>
                  </a:lnTo>
                  <a:lnTo>
                    <a:pt x="0" y="161392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93E47FB9-3068-4AF7-952A-7F4499AD883E}"/>
                </a:ext>
              </a:extLst>
            </p:cNvPr>
            <p:cNvSpPr/>
            <p:nvPr userDrawn="1"/>
          </p:nvSpPr>
          <p:spPr>
            <a:xfrm>
              <a:off x="4828089" y="992553"/>
              <a:ext cx="4841760" cy="4841759"/>
            </a:xfrm>
            <a:custGeom>
              <a:avLst/>
              <a:gdLst>
                <a:gd name="connsiteX0" fmla="*/ 4796790 w 4796790"/>
                <a:gd name="connsiteY0" fmla="*/ 0 h 4796789"/>
                <a:gd name="connsiteX1" fmla="*/ 1598930 w 4796790"/>
                <a:gd name="connsiteY1" fmla="*/ 0 h 4796789"/>
                <a:gd name="connsiteX2" fmla="*/ 0 w 4796790"/>
                <a:gd name="connsiteY2" fmla="*/ 1598930 h 4796789"/>
                <a:gd name="connsiteX3" fmla="*/ 3197860 w 4796790"/>
                <a:gd name="connsiteY3" fmla="*/ 1598930 h 4796789"/>
                <a:gd name="connsiteX4" fmla="*/ 3197860 w 4796790"/>
                <a:gd name="connsiteY4" fmla="*/ 4796790 h 4796789"/>
                <a:gd name="connsiteX5" fmla="*/ 4796790 w 4796790"/>
                <a:gd name="connsiteY5" fmla="*/ 3197860 h 4796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90" h="4796789">
                  <a:moveTo>
                    <a:pt x="4796790" y="0"/>
                  </a:moveTo>
                  <a:lnTo>
                    <a:pt x="1598930" y="0"/>
                  </a:lnTo>
                  <a:lnTo>
                    <a:pt x="0" y="1598930"/>
                  </a:lnTo>
                  <a:lnTo>
                    <a:pt x="3197860" y="1598930"/>
                  </a:lnTo>
                  <a:lnTo>
                    <a:pt x="3197860" y="4796790"/>
                  </a:lnTo>
                  <a:lnTo>
                    <a:pt x="4796790" y="319786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8D229612-0641-4976-9F58-EB1D7BC466BD}"/>
                </a:ext>
              </a:extLst>
            </p:cNvPr>
            <p:cNvSpPr/>
            <p:nvPr userDrawn="1"/>
          </p:nvSpPr>
          <p:spPr>
            <a:xfrm>
              <a:off x="-13671" y="29842"/>
              <a:ext cx="4841759" cy="4190551"/>
            </a:xfrm>
            <a:custGeom>
              <a:avLst/>
              <a:gdLst>
                <a:gd name="connsiteX0" fmla="*/ 953135 w 4796789"/>
                <a:gd name="connsiteY0" fmla="*/ 0 h 4151629"/>
                <a:gd name="connsiteX1" fmla="*/ 0 w 4796789"/>
                <a:gd name="connsiteY1" fmla="*/ 953770 h 4151629"/>
                <a:gd name="connsiteX2" fmla="*/ 3197860 w 4796789"/>
                <a:gd name="connsiteY2" fmla="*/ 953770 h 4151629"/>
                <a:gd name="connsiteX3" fmla="*/ 3197860 w 4796789"/>
                <a:gd name="connsiteY3" fmla="*/ 4151630 h 4151629"/>
                <a:gd name="connsiteX4" fmla="*/ 4796790 w 4796789"/>
                <a:gd name="connsiteY4" fmla="*/ 2552700 h 4151629"/>
                <a:gd name="connsiteX5" fmla="*/ 4796790 w 4796789"/>
                <a:gd name="connsiteY5" fmla="*/ 0 h 4151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789" h="4151629">
                  <a:moveTo>
                    <a:pt x="953135" y="0"/>
                  </a:moveTo>
                  <a:lnTo>
                    <a:pt x="0" y="953770"/>
                  </a:lnTo>
                  <a:lnTo>
                    <a:pt x="3197860" y="953770"/>
                  </a:lnTo>
                  <a:lnTo>
                    <a:pt x="3197860" y="4151630"/>
                  </a:lnTo>
                  <a:lnTo>
                    <a:pt x="4796790" y="2552700"/>
                  </a:lnTo>
                  <a:lnTo>
                    <a:pt x="479679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D8A8FD79-0011-4324-935E-FC2066224F52}"/>
                </a:ext>
              </a:extLst>
            </p:cNvPr>
            <p:cNvSpPr/>
            <p:nvPr userDrawn="1"/>
          </p:nvSpPr>
          <p:spPr>
            <a:xfrm>
              <a:off x="9669849" y="2606474"/>
              <a:ext cx="2522151" cy="1613919"/>
            </a:xfrm>
            <a:custGeom>
              <a:avLst/>
              <a:gdLst>
                <a:gd name="connsiteX0" fmla="*/ 1598930 w 2498725"/>
                <a:gd name="connsiteY0" fmla="*/ 0 h 1598929"/>
                <a:gd name="connsiteX1" fmla="*/ 0 w 2498725"/>
                <a:gd name="connsiteY1" fmla="*/ 1598930 h 1598929"/>
                <a:gd name="connsiteX2" fmla="*/ 2498725 w 2498725"/>
                <a:gd name="connsiteY2" fmla="*/ 1598930 h 1598929"/>
                <a:gd name="connsiteX3" fmla="*/ 2498725 w 2498725"/>
                <a:gd name="connsiteY3" fmla="*/ 0 h 1598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8725" h="1598929">
                  <a:moveTo>
                    <a:pt x="1598930" y="0"/>
                  </a:moveTo>
                  <a:lnTo>
                    <a:pt x="0" y="1598930"/>
                  </a:lnTo>
                  <a:lnTo>
                    <a:pt x="2498725" y="1598930"/>
                  </a:lnTo>
                  <a:lnTo>
                    <a:pt x="249872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ADC61937-7F9C-4CB3-81AC-301803254390}"/>
                </a:ext>
              </a:extLst>
            </p:cNvPr>
            <p:cNvSpPr/>
            <p:nvPr userDrawn="1"/>
          </p:nvSpPr>
          <p:spPr>
            <a:xfrm>
              <a:off x="11283769" y="29842"/>
              <a:ext cx="908230" cy="2576632"/>
            </a:xfrm>
            <a:custGeom>
              <a:avLst/>
              <a:gdLst>
                <a:gd name="connsiteX0" fmla="*/ 0 w 899794"/>
                <a:gd name="connsiteY0" fmla="*/ 0 h 2552700"/>
                <a:gd name="connsiteX1" fmla="*/ 0 w 899794"/>
                <a:gd name="connsiteY1" fmla="*/ 2552700 h 2552700"/>
                <a:gd name="connsiteX2" fmla="*/ 899795 w 899794"/>
                <a:gd name="connsiteY2" fmla="*/ 1652905 h 2552700"/>
                <a:gd name="connsiteX3" fmla="*/ 899795 w 899794"/>
                <a:gd name="connsiteY3" fmla="*/ 0 h 255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9794" h="2552700">
                  <a:moveTo>
                    <a:pt x="0" y="0"/>
                  </a:moveTo>
                  <a:lnTo>
                    <a:pt x="0" y="2552700"/>
                  </a:lnTo>
                  <a:lnTo>
                    <a:pt x="899795" y="1652905"/>
                  </a:lnTo>
                  <a:lnTo>
                    <a:pt x="8997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FBC656CA-9B99-4772-90C6-CD92B491B611}"/>
                </a:ext>
              </a:extLst>
            </p:cNvPr>
            <p:cNvSpPr/>
            <p:nvPr userDrawn="1"/>
          </p:nvSpPr>
          <p:spPr>
            <a:xfrm>
              <a:off x="6442009" y="0"/>
              <a:ext cx="1007295" cy="1007295"/>
            </a:xfrm>
            <a:custGeom>
              <a:avLst/>
              <a:gdLst>
                <a:gd name="connsiteX0" fmla="*/ 0 w 1007295"/>
                <a:gd name="connsiteY0" fmla="*/ 0 h 1007295"/>
                <a:gd name="connsiteX1" fmla="*/ 1007295 w 1007295"/>
                <a:gd name="connsiteY1" fmla="*/ 0 h 1007295"/>
                <a:gd name="connsiteX2" fmla="*/ 0 w 1007295"/>
                <a:gd name="connsiteY2" fmla="*/ 1007295 h 100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7295" h="1007295">
                  <a:moveTo>
                    <a:pt x="0" y="0"/>
                  </a:moveTo>
                  <a:lnTo>
                    <a:pt x="1007295" y="0"/>
                  </a:lnTo>
                  <a:lnTo>
                    <a:pt x="0" y="100729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32216AA9-87BB-4506-902D-19956F21F168}"/>
                </a:ext>
              </a:extLst>
            </p:cNvPr>
            <p:cNvSpPr/>
            <p:nvPr userDrawn="1"/>
          </p:nvSpPr>
          <p:spPr>
            <a:xfrm>
              <a:off x="7032242" y="5834312"/>
              <a:ext cx="4251528" cy="1023688"/>
            </a:xfrm>
            <a:custGeom>
              <a:avLst/>
              <a:gdLst>
                <a:gd name="connsiteX0" fmla="*/ 1023688 w 4251528"/>
                <a:gd name="connsiteY0" fmla="*/ 0 h 1023688"/>
                <a:gd name="connsiteX1" fmla="*/ 4251528 w 4251528"/>
                <a:gd name="connsiteY1" fmla="*/ 0 h 1023688"/>
                <a:gd name="connsiteX2" fmla="*/ 4251528 w 4251528"/>
                <a:gd name="connsiteY2" fmla="*/ 1023688 h 1023688"/>
                <a:gd name="connsiteX3" fmla="*/ 0 w 4251528"/>
                <a:gd name="connsiteY3" fmla="*/ 1023688 h 1023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1528" h="1023688">
                  <a:moveTo>
                    <a:pt x="1023688" y="0"/>
                  </a:moveTo>
                  <a:lnTo>
                    <a:pt x="4251528" y="0"/>
                  </a:lnTo>
                  <a:lnTo>
                    <a:pt x="4251528" y="1023688"/>
                  </a:lnTo>
                  <a:lnTo>
                    <a:pt x="0" y="10236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86000">
                  <a:schemeClr val="tx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3" name="Текст 39">
            <a:extLst>
              <a:ext uri="{FF2B5EF4-FFF2-40B4-BE49-F238E27FC236}">
                <a16:creationId xmlns:a16="http://schemas.microsoft.com/office/drawing/2014/main" id="{A7FA4B40-C0B0-471E-9072-2FD3537303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4001405"/>
            <a:ext cx="6894454" cy="1578894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14" name="Рисунок 3">
            <a:extLst>
              <a:ext uri="{FF2B5EF4-FFF2-40B4-BE49-F238E27FC236}">
                <a16:creationId xmlns:a16="http://schemas.microsoft.com/office/drawing/2014/main" id="{74933002-3000-40D8-81B7-1FDD30C961DD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A8641FEC-D1E4-461A-9A09-1ACD28B60C9D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ABD9B356-E160-484B-8045-6B21E5E89B6C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1160733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Контент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1AF5ADA-9F79-49F0-A830-9B5AD5F647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691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во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##</a:t>
            </a:r>
            <a:r>
              <a:rPr lang="ru-RU"/>
              <a:t>.</a:t>
            </a:r>
            <a:r>
              <a:rPr lang="en-US"/>
              <a:t>##</a:t>
            </a:r>
            <a:r>
              <a:rPr lang="ru-RU"/>
              <a:t>.</a:t>
            </a:r>
            <a:r>
              <a:rPr lang="en-US"/>
              <a:t>####</a:t>
            </a:r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476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0"/>
            <a:ext cx="5015880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D3C38CB1-3CDA-4BA0-A85D-19817FD27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3019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4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19668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1089024"/>
            <a:ext cx="460789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286875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089024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79770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8" Type="http://schemas.openxmlformats.org/officeDocument/2006/relationships/image" Target="../media/image3.sv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20.svg"/><Relationship Id="rId5" Type="http://schemas.openxmlformats.org/officeDocument/2006/relationships/image" Target="../media/image2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9" Type="http://schemas.openxmlformats.org/officeDocument/2006/relationships/slideLayout" Target="../slideLayouts/slideLayout82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85.xml"/><Relationship Id="rId47" Type="http://schemas.openxmlformats.org/officeDocument/2006/relationships/slideLayout" Target="../slideLayouts/slideLayout90.xml"/><Relationship Id="rId50" Type="http://schemas.openxmlformats.org/officeDocument/2006/relationships/slideLayout" Target="../slideLayouts/slideLayout93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slideLayout" Target="../slideLayouts/slideLayout81.xml"/><Relationship Id="rId46" Type="http://schemas.openxmlformats.org/officeDocument/2006/relationships/slideLayout" Target="../slideLayouts/slideLayout89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41" Type="http://schemas.openxmlformats.org/officeDocument/2006/relationships/slideLayout" Target="../slideLayouts/slideLayout84.xml"/><Relationship Id="rId62" Type="http://schemas.openxmlformats.org/officeDocument/2006/relationships/image" Target="../media/image21.svg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slideLayout" Target="../slideLayouts/slideLayout80.xml"/><Relationship Id="rId40" Type="http://schemas.openxmlformats.org/officeDocument/2006/relationships/slideLayout" Target="../slideLayouts/slideLayout83.xml"/><Relationship Id="rId45" Type="http://schemas.openxmlformats.org/officeDocument/2006/relationships/slideLayout" Target="../slideLayouts/slideLayout88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49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4" Type="http://schemas.openxmlformats.org/officeDocument/2006/relationships/slideLayout" Target="../slideLayouts/slideLayout87.xml"/><Relationship Id="rId52" Type="http://schemas.openxmlformats.org/officeDocument/2006/relationships/image" Target="../media/image7.png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43" Type="http://schemas.openxmlformats.org/officeDocument/2006/relationships/slideLayout" Target="../slideLayouts/slideLayout86.xml"/><Relationship Id="rId48" Type="http://schemas.openxmlformats.org/officeDocument/2006/relationships/slideLayout" Target="../slideLayouts/slideLayout91.xml"/><Relationship Id="rId8" Type="http://schemas.openxmlformats.org/officeDocument/2006/relationships/slideLayout" Target="../slideLayouts/slideLayout51.xml"/><Relationship Id="rId51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236846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" name="think-cell Slide" r:id="rId39" imgW="473" imgH="476" progId="TCLayout.ActiveDocument.1">
                  <p:embed/>
                </p:oleObj>
              </mc:Choice>
              <mc:Fallback>
                <p:oleObj name="think-cell Slide" r:id="rId39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/>
            <a:fld id="{3B9CAC58-44C9-4DC0-A6AF-0B4057C34224}" type="slidenum">
              <a:rPr lang="ru-RU" smtClean="0"/>
              <a:pPr algn="ctr"/>
              <a:t>‹#›</a:t>
            </a:fld>
            <a:endParaRPr lang="ru-RU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/>
              <a:t>Заголовок слайда</a:t>
            </a:r>
            <a:br>
              <a:rPr lang="ru-RU"/>
            </a:br>
            <a:r>
              <a:rPr lang="ru-RU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96DAC541-7B7A-43D3-8B79-37D633B846F1}">
                <asvg:svgBlip xmlns:asvg="http://schemas.microsoft.com/office/drawing/2016/SVG/main" xmlns="" r:embed="rId48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835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800" r:id="rId2"/>
    <p:sldLayoutId id="2147483681" r:id="rId3"/>
    <p:sldLayoutId id="2147483780" r:id="rId4"/>
    <p:sldLayoutId id="2147483782" r:id="rId5"/>
    <p:sldLayoutId id="2147483785" r:id="rId6"/>
    <p:sldLayoutId id="2147483787" r:id="rId7"/>
    <p:sldLayoutId id="2147483786" r:id="rId8"/>
    <p:sldLayoutId id="2147483783" r:id="rId9"/>
    <p:sldLayoutId id="2147483784" r:id="rId10"/>
    <p:sldLayoutId id="2147483781" r:id="rId11"/>
    <p:sldLayoutId id="2147483729" r:id="rId12"/>
    <p:sldLayoutId id="2147483730" r:id="rId13"/>
    <p:sldLayoutId id="2147483728" r:id="rId14"/>
    <p:sldLayoutId id="2147483727" r:id="rId15"/>
    <p:sldLayoutId id="2147483707" r:id="rId16"/>
    <p:sldLayoutId id="2147483682" r:id="rId17"/>
    <p:sldLayoutId id="2147483698" r:id="rId18"/>
    <p:sldLayoutId id="2147483699" r:id="rId19"/>
    <p:sldLayoutId id="2147483705" r:id="rId20"/>
    <p:sldLayoutId id="2147483706" r:id="rId21"/>
    <p:sldLayoutId id="2147483791" r:id="rId22"/>
    <p:sldLayoutId id="2147483702" r:id="rId23"/>
    <p:sldLayoutId id="2147483704" r:id="rId24"/>
    <p:sldLayoutId id="2147483686" r:id="rId25"/>
    <p:sldLayoutId id="2147483700" r:id="rId26"/>
    <p:sldLayoutId id="2147483799" r:id="rId27"/>
    <p:sldLayoutId id="2147483798" r:id="rId28"/>
    <p:sldLayoutId id="2147483701" r:id="rId29"/>
    <p:sldLayoutId id="2147483703" r:id="rId30"/>
    <p:sldLayoutId id="2147483691" r:id="rId31"/>
    <p:sldLayoutId id="2147483779" r:id="rId32"/>
    <p:sldLayoutId id="2147483788" r:id="rId33"/>
    <p:sldLayoutId id="2147483797" r:id="rId34"/>
    <p:sldLayoutId id="2147483959" r:id="rId35"/>
  </p:sldLayoutIdLst>
  <p:hf hdr="0" ftr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57" userDrawn="1">
          <p15:clr>
            <a:srgbClr val="A4A3A4"/>
          </p15:clr>
        </p15:guide>
        <p15:guide id="2" pos="7423" userDrawn="1">
          <p15:clr>
            <a:srgbClr val="A4A3A4"/>
          </p15:clr>
        </p15:guide>
        <p15:guide id="3" orient="horz" pos="3974" userDrawn="1">
          <p15:clr>
            <a:srgbClr val="A4A3A4"/>
          </p15:clr>
        </p15:guide>
        <p15:guide id="4" orient="horz" pos="686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/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065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2" r:id="rId3"/>
    <p:sldLayoutId id="2147483953" r:id="rId4"/>
    <p:sldLayoutId id="2147483955" r:id="rId5"/>
  </p:sldLayoutIdLst>
  <p:hf hdr="0" ftr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A4A3A4"/>
          </p15:clr>
        </p15:guide>
        <p15:guide id="2" pos="7423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686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/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605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</p:sldLayoutIdLst>
  <p:hf hdr="0" ftr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A4A3A4"/>
          </p15:clr>
        </p15:guide>
        <p15:guide id="2" pos="7423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686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/>
                </a:solidFill>
              </a:rPr>
            </a:br>
            <a:r>
              <a:rPr lang="ru-RU" sz="500" dirty="0">
                <a:solidFill>
                  <a:schemeClr val="tx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52" cstate="print">
            <a:extLst>
              <a:ext uri="{96DAC541-7B7A-43D3-8B79-37D633B846F1}">
                <asvg:svgBlip xmlns:asvg="http://schemas.microsoft.com/office/drawing/2016/SVG/main" xmlns="" r:embed="rId62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267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  <p:sldLayoutId id="2147483970" r:id="rId6"/>
    <p:sldLayoutId id="2147483971" r:id="rId7"/>
    <p:sldLayoutId id="2147483972" r:id="rId8"/>
    <p:sldLayoutId id="2147483973" r:id="rId9"/>
    <p:sldLayoutId id="2147483974" r:id="rId10"/>
    <p:sldLayoutId id="2147483975" r:id="rId11"/>
    <p:sldLayoutId id="2147483976" r:id="rId12"/>
    <p:sldLayoutId id="2147483977" r:id="rId13"/>
    <p:sldLayoutId id="2147483978" r:id="rId14"/>
    <p:sldLayoutId id="2147483979" r:id="rId15"/>
    <p:sldLayoutId id="2147483980" r:id="rId16"/>
    <p:sldLayoutId id="2147483981" r:id="rId17"/>
    <p:sldLayoutId id="2147483982" r:id="rId18"/>
    <p:sldLayoutId id="2147483983" r:id="rId19"/>
    <p:sldLayoutId id="2147483984" r:id="rId20"/>
    <p:sldLayoutId id="2147483985" r:id="rId21"/>
    <p:sldLayoutId id="2147483986" r:id="rId22"/>
    <p:sldLayoutId id="2147483987" r:id="rId23"/>
    <p:sldLayoutId id="2147483988" r:id="rId24"/>
    <p:sldLayoutId id="2147483989" r:id="rId25"/>
    <p:sldLayoutId id="2147483990" r:id="rId26"/>
    <p:sldLayoutId id="2147483991" r:id="rId27"/>
    <p:sldLayoutId id="2147483992" r:id="rId28"/>
    <p:sldLayoutId id="2147483993" r:id="rId29"/>
    <p:sldLayoutId id="2147483994" r:id="rId30"/>
    <p:sldLayoutId id="2147483995" r:id="rId31"/>
    <p:sldLayoutId id="2147483996" r:id="rId32"/>
    <p:sldLayoutId id="2147483997" r:id="rId33"/>
    <p:sldLayoutId id="2147483998" r:id="rId34"/>
    <p:sldLayoutId id="2147483999" r:id="rId35"/>
    <p:sldLayoutId id="2147484000" r:id="rId36"/>
    <p:sldLayoutId id="2147484001" r:id="rId37"/>
    <p:sldLayoutId id="2147484002" r:id="rId38"/>
    <p:sldLayoutId id="2147484003" r:id="rId39"/>
    <p:sldLayoutId id="2147484004" r:id="rId40"/>
    <p:sldLayoutId id="2147484005" r:id="rId41"/>
    <p:sldLayoutId id="2147484006" r:id="rId42"/>
    <p:sldLayoutId id="2147484007" r:id="rId43"/>
    <p:sldLayoutId id="2147484008" r:id="rId44"/>
    <p:sldLayoutId id="2147484009" r:id="rId45"/>
    <p:sldLayoutId id="2147484010" r:id="rId46"/>
    <p:sldLayoutId id="2147484011" r:id="rId47"/>
    <p:sldLayoutId id="2147484012" r:id="rId48"/>
    <p:sldLayoutId id="2147484013" r:id="rId49"/>
    <p:sldLayoutId id="2147484014" r:id="rId50"/>
  </p:sldLayoutIdLst>
  <p:hf hdr="0" ftr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/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/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/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/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/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A4A3A4"/>
          </p15:clr>
        </p15:guide>
        <p15:guide id="2" pos="7423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68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5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5.xml"/><Relationship Id="rId7" Type="http://schemas.openxmlformats.org/officeDocument/2006/relationships/image" Target="../media/image16.emf"/><Relationship Id="rId17" Type="http://schemas.openxmlformats.org/officeDocument/2006/relationships/image" Target="../media/image82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7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6.xml"/><Relationship Id="rId10" Type="http://schemas.openxmlformats.org/officeDocument/2006/relationships/image" Target="../media/image22.png"/><Relationship Id="rId9" Type="http://schemas.openxmlformats.org/officeDocument/2006/relationships/image" Target="../media/image740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6.xml"/><Relationship Id="rId10" Type="http://schemas.openxmlformats.org/officeDocument/2006/relationships/image" Target="../media/image22.png"/><Relationship Id="rId9" Type="http://schemas.openxmlformats.org/officeDocument/2006/relationships/image" Target="../media/image740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Grp="1" noChangeAspect="1"/>
          </p:cNvPicPr>
          <p:nvPr>
            <p:ph type="pic" sz="quarter" idx="10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71" r="9571"/>
          <a:stretch>
            <a:fillRect/>
          </a:stretch>
        </p:blipFill>
        <p:spPr/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374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5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56">
            <a:extLst>
              <a:ext uri="{FF2B5EF4-FFF2-40B4-BE49-F238E27FC236}">
                <a16:creationId xmlns:a16="http://schemas.microsoft.com/office/drawing/2014/main" id="{6BE9D659-3E39-4AAA-AC9E-43FC8FBAD8E3}"/>
              </a:ext>
            </a:extLst>
          </p:cNvPr>
          <p:cNvGrpSpPr/>
          <p:nvPr/>
        </p:nvGrpSpPr>
        <p:grpSpPr>
          <a:xfrm rot="15333522">
            <a:off x="4792597" y="-889201"/>
            <a:ext cx="8693768" cy="8810245"/>
            <a:chOff x="3533290" y="-3551664"/>
            <a:chExt cx="10634722" cy="10634722"/>
          </a:xfrm>
        </p:grpSpPr>
        <p:sp>
          <p:nvSpPr>
            <p:cNvPr id="9" name="Дуга 4">
              <a:extLst>
                <a:ext uri="{FF2B5EF4-FFF2-40B4-BE49-F238E27FC236}">
                  <a16:creationId xmlns:a16="http://schemas.microsoft.com/office/drawing/2014/main" id="{5724727D-7732-42D4-9D88-22D1D5A6287F}"/>
                </a:ext>
              </a:extLst>
            </p:cNvPr>
            <p:cNvSpPr/>
            <p:nvPr/>
          </p:nvSpPr>
          <p:spPr bwMode="auto">
            <a:xfrm rot="13268044">
              <a:off x="7361254" y="259274"/>
              <a:ext cx="3012926" cy="3012926"/>
            </a:xfrm>
            <a:prstGeom prst="arc">
              <a:avLst>
                <a:gd name="adj1" fmla="val 16704857"/>
                <a:gd name="adj2" fmla="val 5738127"/>
              </a:avLst>
            </a:prstGeom>
            <a:noFill/>
            <a:ln w="762000" cap="flat" cmpd="sng" algn="ctr">
              <a:gradFill>
                <a:gsLst>
                  <a:gs pos="22000">
                    <a:schemeClr val="accent2">
                      <a:alpha val="2000"/>
                    </a:schemeClr>
                  </a:gs>
                  <a:gs pos="100000">
                    <a:schemeClr val="accent2"/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Дуга 9">
              <a:extLst>
                <a:ext uri="{FF2B5EF4-FFF2-40B4-BE49-F238E27FC236}">
                  <a16:creationId xmlns:a16="http://schemas.microsoft.com/office/drawing/2014/main" id="{65559C1A-E0B9-4A81-9154-32EAE0059993}"/>
                </a:ext>
              </a:extLst>
            </p:cNvPr>
            <p:cNvSpPr/>
            <p:nvPr/>
          </p:nvSpPr>
          <p:spPr bwMode="auto">
            <a:xfrm rot="13268044">
              <a:off x="6598298" y="-486656"/>
              <a:ext cx="4504706" cy="4504706"/>
            </a:xfrm>
            <a:prstGeom prst="arc">
              <a:avLst>
                <a:gd name="adj1" fmla="val 12584492"/>
                <a:gd name="adj2" fmla="val 20332868"/>
              </a:avLst>
            </a:prstGeom>
            <a:noFill/>
            <a:ln w="7620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Дуга 12">
              <a:extLst>
                <a:ext uri="{FF2B5EF4-FFF2-40B4-BE49-F238E27FC236}">
                  <a16:creationId xmlns:a16="http://schemas.microsoft.com/office/drawing/2014/main" id="{5826D256-A591-4B99-A2B0-AB935BB8F749}"/>
                </a:ext>
              </a:extLst>
            </p:cNvPr>
            <p:cNvSpPr/>
            <p:nvPr/>
          </p:nvSpPr>
          <p:spPr bwMode="auto">
            <a:xfrm rot="7745189">
              <a:off x="4294859" y="-2790095"/>
              <a:ext cx="9111584" cy="9111584"/>
            </a:xfrm>
            <a:prstGeom prst="arc">
              <a:avLst>
                <a:gd name="adj1" fmla="val 3846455"/>
                <a:gd name="adj2" fmla="val 8989043"/>
              </a:avLst>
            </a:prstGeom>
            <a:noFill/>
            <a:ln w="7620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Дуга 13">
              <a:extLst>
                <a:ext uri="{FF2B5EF4-FFF2-40B4-BE49-F238E27FC236}">
                  <a16:creationId xmlns:a16="http://schemas.microsoft.com/office/drawing/2014/main" id="{6DB9756B-1AC5-478F-B720-258E07EEF127}"/>
                </a:ext>
              </a:extLst>
            </p:cNvPr>
            <p:cNvSpPr/>
            <p:nvPr/>
          </p:nvSpPr>
          <p:spPr bwMode="auto">
            <a:xfrm rot="598859">
              <a:off x="5066730" y="-2018224"/>
              <a:ext cx="7567842" cy="7567842"/>
            </a:xfrm>
            <a:prstGeom prst="arc">
              <a:avLst>
                <a:gd name="adj1" fmla="val 3106801"/>
                <a:gd name="adj2" fmla="val 12612573"/>
              </a:avLst>
            </a:prstGeom>
            <a:noFill/>
            <a:ln w="762000" cap="flat" cmpd="sng" algn="ctr">
              <a:gradFill>
                <a:gsLst>
                  <a:gs pos="60000">
                    <a:schemeClr val="accent3"/>
                  </a:gs>
                  <a:gs pos="0">
                    <a:schemeClr val="accent3">
                      <a:lumMod val="20000"/>
                      <a:lumOff val="80000"/>
                    </a:schemeClr>
                  </a:gs>
                  <a:gs pos="100000">
                    <a:schemeClr val="accent3">
                      <a:lumMod val="20000"/>
                      <a:lumOff val="8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Дуга 14">
              <a:extLst>
                <a:ext uri="{FF2B5EF4-FFF2-40B4-BE49-F238E27FC236}">
                  <a16:creationId xmlns:a16="http://schemas.microsoft.com/office/drawing/2014/main" id="{7BDE1C65-3F5E-4757-84F6-73DDDD78C13A}"/>
                </a:ext>
              </a:extLst>
            </p:cNvPr>
            <p:cNvSpPr/>
            <p:nvPr/>
          </p:nvSpPr>
          <p:spPr bwMode="auto">
            <a:xfrm rot="13268044">
              <a:off x="3533290" y="-3551664"/>
              <a:ext cx="10634722" cy="10634722"/>
            </a:xfrm>
            <a:prstGeom prst="arc">
              <a:avLst>
                <a:gd name="adj1" fmla="val 9878533"/>
                <a:gd name="adj2" fmla="val 20724111"/>
              </a:avLst>
            </a:prstGeom>
            <a:noFill/>
            <a:ln w="7620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Дуга 10">
              <a:extLst>
                <a:ext uri="{FF2B5EF4-FFF2-40B4-BE49-F238E27FC236}">
                  <a16:creationId xmlns:a16="http://schemas.microsoft.com/office/drawing/2014/main" id="{D9FCFC55-ADE3-4825-848D-186AAAA1BB9C}"/>
                </a:ext>
              </a:extLst>
            </p:cNvPr>
            <p:cNvSpPr/>
            <p:nvPr/>
          </p:nvSpPr>
          <p:spPr bwMode="auto">
            <a:xfrm rot="6110943">
              <a:off x="5838334" y="-1246620"/>
              <a:ext cx="6024634" cy="6024634"/>
            </a:xfrm>
            <a:prstGeom prst="arc">
              <a:avLst>
                <a:gd name="adj1" fmla="val 10341068"/>
                <a:gd name="adj2" fmla="val 3146064"/>
              </a:avLst>
            </a:prstGeom>
            <a:noFill/>
            <a:ln w="762000" cap="flat" cmpd="sng" algn="ctr">
              <a:gradFill flip="none" rotWithShape="1">
                <a:gsLst>
                  <a:gs pos="34000">
                    <a:schemeClr val="accent2">
                      <a:alpha val="0"/>
                    </a:schemeClr>
                  </a:gs>
                  <a:gs pos="100000">
                    <a:schemeClr val="accent2"/>
                  </a:gs>
                </a:gsLst>
                <a:lin ang="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Текст 12">
            <a:extLst>
              <a:ext uri="{FF2B5EF4-FFF2-40B4-BE49-F238E27FC236}">
                <a16:creationId xmlns:a16="http://schemas.microsoft.com/office/drawing/2014/main" id="{9D92DCA7-6D5C-499D-B7D0-4B5CD5D4A7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7368" y="2463326"/>
            <a:ext cx="6176427" cy="1578894"/>
          </a:xfrm>
        </p:spPr>
        <p:txBody>
          <a:bodyPr/>
          <a:lstStyle/>
          <a:p>
            <a:pPr>
              <a:defRPr/>
            </a:pPr>
            <a:r>
              <a:rPr lang="ru-RU" sz="3600" dirty="0" smtClean="0"/>
              <a:t>Программный комплекс </a:t>
            </a:r>
            <a:r>
              <a:rPr lang="ru-RU" sz="3600" dirty="0"/>
              <a:t>«Контроль охраны труда» (ПК КОТ</a:t>
            </a:r>
            <a:r>
              <a:rPr lang="ru-RU" sz="3600" dirty="0" smtClean="0"/>
              <a:t>)</a:t>
            </a:r>
            <a:endParaRPr lang="ru-RU" sz="2800" dirty="0">
              <a:solidFill>
                <a:srgbClr val="FFFFFF"/>
              </a:solidFill>
            </a:endParaRPr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id="{EC7ED874-08F2-469F-A0DC-9522428369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425" y="5887997"/>
            <a:ext cx="6506699" cy="215444"/>
          </a:xfrm>
        </p:spPr>
        <p:txBody>
          <a:bodyPr/>
          <a:lstStyle/>
          <a:p>
            <a:pPr marL="330835" indent="-330835"/>
            <a:r>
              <a:rPr lang="ru-RU" dirty="0" smtClean="0"/>
              <a:t>18.09.2024 </a:t>
            </a:r>
            <a:r>
              <a:rPr lang="ru-RU" dirty="0" smtClean="0"/>
              <a:t>г.</a:t>
            </a:r>
            <a:endParaRPr lang="ru-RU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757001" y="5248199"/>
            <a:ext cx="6588344" cy="473976"/>
          </a:xfrm>
        </p:spPr>
        <p:txBody>
          <a:bodyPr/>
          <a:lstStyle/>
          <a:p>
            <a:pPr marL="0" indent="0"/>
            <a:r>
              <a:rPr lang="ru-RU" dirty="0" smtClean="0"/>
              <a:t>Кузьменко Ирина Ивановна</a:t>
            </a:r>
          </a:p>
          <a:p>
            <a:pPr marL="0" indent="0"/>
            <a:r>
              <a:rPr lang="ru-RU" dirty="0" smtClean="0"/>
              <a:t>Начальник службы ОТ АО «Карельский окатыш»</a:t>
            </a:r>
            <a:endParaRPr lang="ru-RU" dirty="0" smtClean="0"/>
          </a:p>
        </p:txBody>
      </p:sp>
      <p:sp>
        <p:nvSpPr>
          <p:cNvPr id="6" name="Прямоугольник 5"/>
          <p:cNvSpPr/>
          <p:nvPr/>
        </p:nvSpPr>
        <p:spPr>
          <a:xfrm>
            <a:off x="7293769" y="-1"/>
            <a:ext cx="4898231" cy="7211683"/>
          </a:xfrm>
          <a:prstGeom prst="rect">
            <a:avLst/>
          </a:prstGeom>
          <a:solidFill>
            <a:srgbClr val="002F6C">
              <a:alpha val="5098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352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/>
          <a:p>
            <a:r>
              <a:rPr lang="ru-RU" dirty="0"/>
              <a:t>Сравнение функционала ППК «Поведенческий аудит безопасности» (</a:t>
            </a:r>
            <a:r>
              <a:rPr lang="ru-RU" dirty="0" smtClean="0"/>
              <a:t>ППК </a:t>
            </a:r>
            <a:r>
              <a:rPr lang="ru-RU" dirty="0"/>
              <a:t>ПАБ)</a:t>
            </a:r>
            <a:br>
              <a:rPr lang="ru-RU" dirty="0"/>
            </a:br>
            <a:r>
              <a:rPr lang="ru-RU" dirty="0"/>
              <a:t>и ПК «Контроль охраны труда» (ПК КОТ</a:t>
            </a:r>
            <a:r>
              <a:rPr lang="ru-RU" dirty="0" smtClean="0"/>
              <a:t>) 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407988" y="1089025"/>
          <a:ext cx="11376000" cy="51596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2361037422"/>
                    </a:ext>
                  </a:extLst>
                </a:gridCol>
                <a:gridCol w="2880000">
                  <a:extLst>
                    <a:ext uri="{9D8B030D-6E8A-4147-A177-3AD203B41FA5}">
                      <a16:colId xmlns:a16="http://schemas.microsoft.com/office/drawing/2014/main" val="1020266939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571960830"/>
                    </a:ext>
                  </a:extLst>
                </a:gridCol>
                <a:gridCol w="2736000">
                  <a:extLst>
                    <a:ext uri="{9D8B030D-6E8A-4147-A177-3AD203B41FA5}">
                      <a16:colId xmlns:a16="http://schemas.microsoft.com/office/drawing/2014/main" val="534152178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486265951"/>
                    </a:ext>
                  </a:extLst>
                </a:gridCol>
                <a:gridCol w="2736000">
                  <a:extLst>
                    <a:ext uri="{9D8B030D-6E8A-4147-A177-3AD203B41FA5}">
                      <a16:colId xmlns:a16="http://schemas.microsoft.com/office/drawing/2014/main" val="3704727581"/>
                    </a:ext>
                  </a:extLst>
                </a:gridCol>
              </a:tblGrid>
              <a:tr h="30154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#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199" marR="6199" marT="6199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ункционал</a:t>
                      </a:r>
                      <a:r>
                        <a:rPr lang="ru-RU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199" marR="6199" marT="6199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ПК </a:t>
                      </a:r>
                      <a: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«Поведенческий аудит безопасности» (ППК ПАБ)</a:t>
                      </a:r>
                    </a:p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5 378</a:t>
                      </a:r>
                      <a: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 пользователей, </a:t>
                      </a:r>
                      <a:r>
                        <a:rPr lang="ru-RU" sz="800" b="1" u="none" strike="noStrike" kern="1200" dirty="0" smtClean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800" b="1" u="none" strike="noStrike" dirty="0" smtClean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0</a:t>
                      </a:r>
                      <a: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 подрядных организаций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99" marR="6199" marT="6199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ПК «Контроль охраны труда» (ПК КОТ)</a:t>
                      </a:r>
                      <a:b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ru-RU" sz="800" b="1" u="none" strike="noStrike" dirty="0" smtClean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</a:rPr>
                        <a:t>38 399</a:t>
                      </a:r>
                      <a: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 пользователей,</a:t>
                      </a:r>
                      <a:r>
                        <a:rPr lang="ru-RU" sz="800" b="1" u="none" strike="noStrike" baseline="0" dirty="0" smtClean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ru-RU" sz="800" b="1" u="none" strike="noStrike" kern="1200" dirty="0" smtClean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1 </a:t>
                      </a:r>
                      <a: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подрядных организаций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99" marR="6199" marT="6199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3662074"/>
                  </a:ext>
                </a:extLst>
              </a:tr>
              <a:tr h="2680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сть </a:t>
                      </a:r>
                      <a:r>
                        <a:rPr lang="ru-RU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ункционал? 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199" marR="6199" marT="6199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ользователи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199" marR="6199" marT="6199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сть </a:t>
                      </a:r>
                      <a:r>
                        <a:rPr lang="ru-RU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ункционал? 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199" marR="6199" marT="6199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ользователи</a:t>
                      </a:r>
                      <a:endParaRPr lang="ru-RU" sz="8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199" marR="6199" marT="6199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893696"/>
                  </a:ext>
                </a:extLst>
              </a:tr>
              <a:tr h="2814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исшествия 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т 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сех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Е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ководители, специалисты (в т.ч. весь</a:t>
                      </a:r>
                      <a:b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персонал подрядных организаций) – </a:t>
                      </a:r>
                      <a:r>
                        <a:rPr lang="ru-RU" sz="800" b="1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197 чел.</a:t>
                      </a:r>
                      <a:endParaRPr lang="ru-RU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120340"/>
                  </a:ext>
                </a:extLst>
              </a:tr>
              <a:tr h="1727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удиты: </a:t>
                      </a: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 141 чел.</a:t>
                      </a:r>
                      <a:endParaRPr lang="ru-RU" sz="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6004418"/>
                  </a:ext>
                </a:extLst>
              </a:tr>
              <a:tr h="281413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1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844083" rtl="0" eaLnBrk="1" fontAlgn="b" latinLnBrk="0" hangingPunct="1">
                        <a:buClr>
                          <a:schemeClr val="tx2"/>
                        </a:buClr>
                        <a:buFont typeface="Arial" panose="020B0604020202020204" pitchFamily="34" charset="0"/>
                        <a:buChar char="→"/>
                      </a:pPr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еденческий аудит безопасности (ПАБ)</a:t>
                      </a:r>
                      <a:endParaRPr lang="ru-RU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800" b="1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ководители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пециалисты</a:t>
                      </a:r>
                      <a:r>
                        <a:rPr lang="ru-RU" sz="8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в т.ч. п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ерсонал </a:t>
                      </a:r>
                      <a:b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дрядных организаций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о спец.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оговором)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F6C">
                              <a:lumMod val="60000"/>
                              <a:lumOff val="40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уководители, специалисты (в т.ч. весь персонал</a:t>
                      </a:r>
                      <a:b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подрядных организаций)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147425"/>
                  </a:ext>
                </a:extLst>
              </a:tr>
              <a:tr h="2814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2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chemeClr val="tx2"/>
                        </a:buClr>
                        <a:buFont typeface="Arial" panose="020B0604020202020204" pitchFamily="34" charset="0"/>
                        <a:buChar char="→"/>
                      </a:pP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верки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ез чек-листа 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800" b="1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ководители, специалисты</a:t>
                      </a:r>
                      <a:r>
                        <a:rPr lang="ru-RU" sz="8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в т.ч. п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ерсонал </a:t>
                      </a:r>
                      <a:b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дрядных организаций со спец. договором)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F6C">
                              <a:lumMod val="60000"/>
                              <a:lumOff val="40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ководители, специалисты (в т.ч. весь персонал</a:t>
                      </a:r>
                      <a:b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дрядных организаций)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0543138"/>
                  </a:ext>
                </a:extLst>
              </a:tr>
              <a:tr h="2814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3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chemeClr val="tx2"/>
                        </a:buClr>
                        <a:buFont typeface="Arial" panose="020B0604020202020204" pitchFamily="34" charset="0"/>
                        <a:buChar char="→"/>
                      </a:pP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верки по чек-листу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т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ководители, специалисты (в т.ч. весь персонал</a:t>
                      </a:r>
                      <a:b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дрядных организаций)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9898637"/>
                  </a:ext>
                </a:extLst>
              </a:tr>
              <a:tr h="2814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4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chemeClr val="tx2"/>
                        </a:buClr>
                        <a:buFont typeface="Arial" panose="020B0604020202020204" pitchFamily="34" charset="0"/>
                        <a:buChar char="→"/>
                      </a:pP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верки </a:t>
                      </a:r>
                      <a:r>
                        <a:rPr lang="ru-RU" sz="8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ос.органов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ководители, специалисты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роцессе реализации</a:t>
                      </a:r>
                      <a:r>
                        <a:rPr lang="ru-RU" sz="8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2024 г.)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6057757"/>
                  </a:ext>
                </a:extLst>
              </a:tr>
              <a:tr h="172782">
                <a:tc>
                  <a:txBody>
                    <a:bodyPr/>
                    <a:lstStyle/>
                    <a:p>
                      <a:pPr marL="0" algn="ctr" defTabSz="844083" rtl="0" eaLnBrk="1" fontAlgn="b" latinLnBrk="0" hangingPunct="1"/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44083" rtl="0" eaLnBrk="1" fontAlgn="b" latinLnBrk="0" hangingPunct="1"/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иски:</a:t>
                      </a:r>
                      <a:r>
                        <a:rPr lang="ru-RU" sz="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44083" rtl="0" eaLnBrk="1" fontAlgn="b" latinLnBrk="0" hangingPunct="1"/>
                      <a:endParaRPr lang="ru-RU" sz="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44083" rtl="0" eaLnBrk="1" fontAlgn="b" latinLnBrk="0" hangingPunct="1"/>
                      <a:endParaRPr lang="ru-RU" sz="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44083" rtl="0" eaLnBrk="1" fontAlgn="b" latinLnBrk="0" hangingPunct="1"/>
                      <a:endParaRPr lang="ru-RU" sz="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44083" rtl="0" eaLnBrk="1" fontAlgn="b" latinLnBrk="0" hangingPunct="1"/>
                      <a:r>
                        <a:rPr lang="ru-RU" sz="800" b="1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731 чел.</a:t>
                      </a:r>
                      <a:endParaRPr lang="ru-RU" sz="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2325764"/>
                  </a:ext>
                </a:extLst>
              </a:tr>
              <a:tr h="3900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1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chemeClr val="tx2"/>
                        </a:buClr>
                        <a:buFont typeface="Arial" panose="020B0604020202020204" pitchFamily="34" charset="0"/>
                        <a:buChar char="→"/>
                      </a:pP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управление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исками рутинных работ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ководители, специалисты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ункционал готов, </a:t>
                      </a:r>
                      <a:b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рт обучения </a:t>
                      </a:r>
                      <a:b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1.07.24 г.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 всех БЕ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ководители, специалисты</a:t>
                      </a:r>
                      <a:endParaRPr lang="ru-RU" sz="800" b="1" kern="1200" dirty="0">
                        <a:solidFill>
                          <a:schemeClr val="tx2">
                            <a:lumMod val="60000"/>
                            <a:lumOff val="4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4114369"/>
                  </a:ext>
                </a:extLst>
              </a:tr>
              <a:tr h="3888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2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chemeClr val="tx2"/>
                        </a:buClr>
                        <a:buFont typeface="Arial" panose="020B0604020202020204" pitchFamily="34" charset="0"/>
                        <a:buChar char="→"/>
                      </a:pP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управление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исками работ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вышенной опасности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т 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80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удет доработан ввиду изменения методологии 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ководители, специалисты, рабочие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960817"/>
                  </a:ext>
                </a:extLst>
              </a:tr>
              <a:tr h="2808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3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chemeClr val="tx2"/>
                        </a:buClr>
                        <a:buFont typeface="Arial" panose="020B0604020202020204" pitchFamily="34" charset="0"/>
                        <a:buChar char="→"/>
                      </a:pPr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изводственный контроль 0-го уровня (ПК</a:t>
                      </a:r>
                      <a:r>
                        <a:rPr lang="en-US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)</a:t>
                      </a:r>
                      <a:endParaRPr lang="ru-RU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т 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ководители, специалисты, рабочие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8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в т.ч. весь п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ерсонал подрядных организаций) 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8122032"/>
                  </a:ext>
                </a:extLst>
              </a:tr>
              <a:tr h="1742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Управление безопасностью подрядных </a:t>
                      </a:r>
                      <a:r>
                        <a:rPr lang="ru-RU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рганизаций:</a:t>
                      </a:r>
                      <a:r>
                        <a:rPr lang="ru-RU" sz="8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 333 чел.</a:t>
                      </a:r>
                      <a:endParaRPr lang="ru-RU" sz="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769817"/>
                  </a:ext>
                </a:extLst>
              </a:tr>
              <a:tr h="17278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1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chemeClr val="tx2"/>
                        </a:buClr>
                        <a:buFont typeface="Arial" panose="020B0604020202020204" pitchFamily="34" charset="0"/>
                        <a:buChar char="→"/>
                      </a:pP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личный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абинет подрядчика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F6C">
                              <a:lumMod val="60000"/>
                              <a:lumOff val="40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kumimoji="0" lang="ru-RU" sz="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F6C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rial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уководители</a:t>
                      </a:r>
                      <a:r>
                        <a:rPr lang="ru-RU" sz="8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специалисты</a:t>
                      </a:r>
                      <a:r>
                        <a:rPr lang="ru-RU" sz="8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дрядных организаций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3060767"/>
                  </a:ext>
                </a:extLst>
              </a:tr>
              <a:tr h="630991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2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chemeClr val="tx2"/>
                        </a:buClr>
                        <a:buFont typeface="Arial" panose="020B0604020202020204" pitchFamily="34" charset="0"/>
                        <a:buChar char="→"/>
                      </a:pP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етензионная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абота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Пилот на ПАО для 10 подрядных организаций. Остальные подрядные организации ПАО, Метиз, ЖРА – в 2024 г.</a:t>
                      </a:r>
                      <a:endParaRPr kumimoji="0" lang="ru-RU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уководители, специалисты подрядных организаций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8008083"/>
                  </a:ext>
                </a:extLst>
              </a:tr>
              <a:tr h="17278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3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chemeClr val="tx2"/>
                        </a:buClr>
                        <a:buFont typeface="Arial" panose="020B0604020202020204" pitchFamily="34" charset="0"/>
                        <a:buChar char="→"/>
                      </a:pP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егистрация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 вводный инструктаж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F6C">
                              <a:lumMod val="60000"/>
                              <a:lumOff val="40000"/>
                            </a:srgbClr>
                          </a:solidFill>
                          <a:effectLst/>
                          <a:uLnTx/>
                          <a:uFillTx/>
                          <a:latin typeface="Arial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kumimoji="0" lang="ru-RU" sz="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F6C">
                            <a:lumMod val="60000"/>
                            <a:lumOff val="40000"/>
                          </a:srgbClr>
                        </a:solidFill>
                        <a:effectLst/>
                        <a:uLnTx/>
                        <a:uFillTx/>
                        <a:latin typeface="Arial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уководители, специалисты подрядных организаций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490171"/>
                  </a:ext>
                </a:extLst>
              </a:tr>
              <a:tr h="2814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ая оценка условий труда (</a:t>
                      </a:r>
                      <a:r>
                        <a:rPr lang="ru-RU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ОУТ)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т</a:t>
                      </a:r>
                    </a:p>
                    <a:p>
                      <a:pPr algn="ctr" fontAlgn="b"/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де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льная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истема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F6C">
                              <a:lumMod val="60000"/>
                              <a:lumOff val="4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</a:p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олько в ПАО в 2024 г. 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уководители, специалисты 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– </a:t>
                      </a:r>
                      <a:r>
                        <a:rPr lang="ru-RU" sz="800" b="1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 чел.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5789825"/>
                  </a:ext>
                </a:extLst>
              </a:tr>
              <a:tr h="17278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омитеты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уководители, специалисты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lang="ru-RU" sz="800" b="1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985 чел.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3956759"/>
                  </a:ext>
                </a:extLst>
              </a:tr>
              <a:tr h="172782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обильная версия (по всем модулям)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kern="1200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00" marR="36000" marT="0" marB="0"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0054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9263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r="49881" b="4858"/>
          <a:stretch/>
        </p:blipFill>
        <p:spPr>
          <a:xfrm>
            <a:off x="202628" y="268319"/>
            <a:ext cx="11786743" cy="6293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50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58" t="-414" r="50212" b="4798"/>
          <a:stretch/>
        </p:blipFill>
        <p:spPr>
          <a:xfrm>
            <a:off x="407987" y="268319"/>
            <a:ext cx="10792051" cy="5835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39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76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45380" y="1431247"/>
            <a:ext cx="4805851" cy="1985283"/>
          </a:xfrm>
        </p:spPr>
        <p:txBody>
          <a:bodyPr vert="horz"/>
          <a:lstStyle/>
          <a:p>
            <a:pPr algn="ctr"/>
            <a:r>
              <a:rPr lang="ru-RU" sz="6000" dirty="0" smtClean="0"/>
              <a:t/>
            </a:r>
            <a:br>
              <a:rPr lang="ru-RU" sz="6000" dirty="0" smtClean="0"/>
            </a:br>
            <a:r>
              <a:rPr lang="ru-RU" sz="6000" dirty="0" smtClean="0"/>
              <a:t>Спасибо за внимание! </a:t>
            </a:r>
            <a:endParaRPr lang="ru-RU" sz="60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6033053" y="854765"/>
            <a:ext cx="4383156" cy="4651513"/>
          </a:xfrm>
          <a:prstGeom prst="rect">
            <a:avLst/>
          </a:prstGeom>
          <a:solidFill>
            <a:srgbClr val="002F6C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377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5" name="Слайд think-cell" r:id="rId6" imgW="592" imgH="591" progId="TCLayout.ActiveDocument.1">
                  <p:embed/>
                </p:oleObj>
              </mc:Choice>
              <mc:Fallback>
                <p:oleObj name="Слайд think-cell" r:id="rId6" imgW="592" imgH="59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29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7" name="Прямоугольник 36">
            <a:extLst>
              <a:ext uri="{FF2B5EF4-FFF2-40B4-BE49-F238E27FC236}">
                <a16:creationId xmlns:a16="http://schemas.microsoft.com/office/drawing/2014/main" id="{D2388306-42D0-794E-A07B-840C7BB4C320}"/>
              </a:ext>
            </a:extLst>
          </p:cNvPr>
          <p:cNvSpPr/>
          <p:nvPr/>
        </p:nvSpPr>
        <p:spPr>
          <a:xfrm>
            <a:off x="407988" y="1151467"/>
            <a:ext cx="11376025" cy="103997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60000"/>
                <a:lumOff val="40000"/>
                <a:alpha val="99000"/>
              </a:schemeClr>
            </a:solidFill>
          </a:ln>
          <a:effectLst/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рямоугольник 25">
            <a:extLst>
              <a:ext uri="{FF2B5EF4-FFF2-40B4-BE49-F238E27FC236}">
                <a16:creationId xmlns:a16="http://schemas.microsoft.com/office/drawing/2014/main" id="{A0EC879B-3C34-1B42-B824-370D90548C5F}"/>
              </a:ext>
            </a:extLst>
          </p:cNvPr>
          <p:cNvSpPr/>
          <p:nvPr/>
        </p:nvSpPr>
        <p:spPr>
          <a:xfrm>
            <a:off x="2248453" y="1343880"/>
            <a:ext cx="9540027" cy="820738"/>
          </a:xfrm>
          <a:prstGeom prst="rect">
            <a:avLst/>
          </a:prstGeom>
          <a:noFill/>
        </p:spPr>
        <p:txBody>
          <a:bodyPr wrap="square" lIns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r>
              <a:rPr lang="ru-RU" sz="2200" b="1" dirty="0" smtClean="0">
                <a:solidFill>
                  <a:srgbClr val="002F6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сть поддержки Трансформации в области ОТ и ПБ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endParaRPr kumimoji="0" lang="ru-RU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4" name="Рисунок 4">
            <a:extLst>
              <a:ext uri="{FF2B5EF4-FFF2-40B4-BE49-F238E27FC236}">
                <a16:creationId xmlns:a16="http://schemas.microsoft.com/office/drawing/2014/main" id="{B8C701E6-AC2F-6A4D-B4B5-46FFBBA0F0C9}"/>
              </a:ext>
            </a:extLst>
          </p:cNvPr>
          <p:cNvGrpSpPr/>
          <p:nvPr/>
        </p:nvGrpSpPr>
        <p:grpSpPr>
          <a:xfrm>
            <a:off x="623708" y="1471257"/>
            <a:ext cx="399956" cy="400396"/>
            <a:chOff x="10549775" y="2600179"/>
            <a:chExt cx="1644037" cy="1645851"/>
          </a:xfrm>
          <a:solidFill>
            <a:schemeClr val="bg1"/>
          </a:solidFill>
        </p:grpSpPr>
        <p:sp>
          <p:nvSpPr>
            <p:cNvPr id="35" name="Полилиния: фигура 55">
              <a:extLst>
                <a:ext uri="{FF2B5EF4-FFF2-40B4-BE49-F238E27FC236}">
                  <a16:creationId xmlns:a16="http://schemas.microsoft.com/office/drawing/2014/main" id="{F6149CFB-11CD-094F-A3BC-527F7E2DA983}"/>
                </a:ext>
              </a:extLst>
            </p:cNvPr>
            <p:cNvSpPr/>
            <p:nvPr/>
          </p:nvSpPr>
          <p:spPr>
            <a:xfrm>
              <a:off x="11641569" y="3807137"/>
              <a:ext cx="286550" cy="252545"/>
            </a:xfrm>
            <a:custGeom>
              <a:avLst/>
              <a:gdLst>
                <a:gd name="connsiteX0" fmla="*/ 0 w 286550"/>
                <a:gd name="connsiteY0" fmla="*/ 178641 h 252545"/>
                <a:gd name="connsiteX1" fmla="*/ 35365 w 286550"/>
                <a:gd name="connsiteY1" fmla="*/ 252545 h 252545"/>
                <a:gd name="connsiteX2" fmla="*/ 286550 w 286550"/>
                <a:gd name="connsiteY2" fmla="*/ 50781 h 252545"/>
                <a:gd name="connsiteX3" fmla="*/ 221714 w 286550"/>
                <a:gd name="connsiteY3" fmla="*/ 0 h 252545"/>
                <a:gd name="connsiteX4" fmla="*/ 0 w 286550"/>
                <a:gd name="connsiteY4" fmla="*/ 178641 h 25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550" h="252545">
                  <a:moveTo>
                    <a:pt x="0" y="178641"/>
                  </a:moveTo>
                  <a:lnTo>
                    <a:pt x="35365" y="252545"/>
                  </a:lnTo>
                  <a:cubicBezTo>
                    <a:pt x="132846" y="205845"/>
                    <a:pt x="219446" y="136021"/>
                    <a:pt x="286550" y="50781"/>
                  </a:cubicBezTo>
                  <a:lnTo>
                    <a:pt x="221714" y="0"/>
                  </a:lnTo>
                  <a:cubicBezTo>
                    <a:pt x="162771" y="75718"/>
                    <a:pt x="86147" y="137381"/>
                    <a:pt x="0" y="178641"/>
                  </a:cubicBez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Полилиния: фигура 56">
              <a:extLst>
                <a:ext uri="{FF2B5EF4-FFF2-40B4-BE49-F238E27FC236}">
                  <a16:creationId xmlns:a16="http://schemas.microsoft.com/office/drawing/2014/main" id="{2DABCE34-4C99-6243-9A16-EBA2438D8233}"/>
                </a:ext>
              </a:extLst>
            </p:cNvPr>
            <p:cNvSpPr/>
            <p:nvPr/>
          </p:nvSpPr>
          <p:spPr>
            <a:xfrm>
              <a:off x="11564491" y="2749349"/>
              <a:ext cx="395366" cy="325996"/>
            </a:xfrm>
            <a:custGeom>
              <a:avLst/>
              <a:gdLst>
                <a:gd name="connsiteX0" fmla="*/ 326903 w 395366"/>
                <a:gd name="connsiteY0" fmla="*/ 325997 h 325996"/>
                <a:gd name="connsiteX1" fmla="*/ 395367 w 395366"/>
                <a:gd name="connsiteY1" fmla="*/ 280203 h 325996"/>
                <a:gd name="connsiteX2" fmla="*/ 25390 w 395366"/>
                <a:gd name="connsiteY2" fmla="*/ 0 h 325996"/>
                <a:gd name="connsiteX3" fmla="*/ 0 w 395366"/>
                <a:gd name="connsiteY3" fmla="*/ 77985 h 325996"/>
                <a:gd name="connsiteX4" fmla="*/ 326903 w 395366"/>
                <a:gd name="connsiteY4" fmla="*/ 325997 h 325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366" h="325996">
                  <a:moveTo>
                    <a:pt x="326903" y="325997"/>
                  </a:moveTo>
                  <a:lnTo>
                    <a:pt x="395367" y="280203"/>
                  </a:lnTo>
                  <a:cubicBezTo>
                    <a:pt x="306953" y="148263"/>
                    <a:pt x="175919" y="48968"/>
                    <a:pt x="25390" y="0"/>
                  </a:cubicBezTo>
                  <a:lnTo>
                    <a:pt x="0" y="77985"/>
                  </a:lnTo>
                  <a:cubicBezTo>
                    <a:pt x="132846" y="121059"/>
                    <a:pt x="248918" y="209019"/>
                    <a:pt x="326903" y="325997"/>
                  </a:cubicBez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Полилиния: фигура 57">
              <a:extLst>
                <a:ext uri="{FF2B5EF4-FFF2-40B4-BE49-F238E27FC236}">
                  <a16:creationId xmlns:a16="http://schemas.microsoft.com/office/drawing/2014/main" id="{4F10496D-E98F-5046-AA29-B3C88D7365ED}"/>
                </a:ext>
              </a:extLst>
            </p:cNvPr>
            <p:cNvSpPr/>
            <p:nvPr/>
          </p:nvSpPr>
          <p:spPr>
            <a:xfrm>
              <a:off x="10783730" y="2749802"/>
              <a:ext cx="394007" cy="325543"/>
            </a:xfrm>
            <a:custGeom>
              <a:avLst/>
              <a:gdLst>
                <a:gd name="connsiteX0" fmla="*/ 394008 w 394007"/>
                <a:gd name="connsiteY0" fmla="*/ 77985 h 325543"/>
                <a:gd name="connsiteX1" fmla="*/ 368617 w 394007"/>
                <a:gd name="connsiteY1" fmla="*/ 0 h 325543"/>
                <a:gd name="connsiteX2" fmla="*/ 0 w 394007"/>
                <a:gd name="connsiteY2" fmla="*/ 279750 h 325543"/>
                <a:gd name="connsiteX3" fmla="*/ 68464 w 394007"/>
                <a:gd name="connsiteY3" fmla="*/ 325543 h 325543"/>
                <a:gd name="connsiteX4" fmla="*/ 394008 w 394007"/>
                <a:gd name="connsiteY4" fmla="*/ 77985 h 32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007" h="325543">
                  <a:moveTo>
                    <a:pt x="394008" y="77985"/>
                  </a:moveTo>
                  <a:lnTo>
                    <a:pt x="368617" y="0"/>
                  </a:lnTo>
                  <a:cubicBezTo>
                    <a:pt x="218994" y="48967"/>
                    <a:pt x="87961" y="148263"/>
                    <a:pt x="0" y="279750"/>
                  </a:cubicBezTo>
                  <a:lnTo>
                    <a:pt x="68464" y="325543"/>
                  </a:lnTo>
                  <a:cubicBezTo>
                    <a:pt x="145997" y="209019"/>
                    <a:pt x="261614" y="121059"/>
                    <a:pt x="394008" y="77985"/>
                  </a:cubicBez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Полилиния: фигура 58">
              <a:extLst>
                <a:ext uri="{FF2B5EF4-FFF2-40B4-BE49-F238E27FC236}">
                  <a16:creationId xmlns:a16="http://schemas.microsoft.com/office/drawing/2014/main" id="{C97516C8-1415-794B-AA67-220D02AD7F25}"/>
                </a:ext>
              </a:extLst>
            </p:cNvPr>
            <p:cNvSpPr/>
            <p:nvPr/>
          </p:nvSpPr>
          <p:spPr>
            <a:xfrm>
              <a:off x="10815016" y="3807591"/>
              <a:ext cx="286550" cy="252545"/>
            </a:xfrm>
            <a:custGeom>
              <a:avLst/>
              <a:gdLst>
                <a:gd name="connsiteX0" fmla="*/ 64837 w 286550"/>
                <a:gd name="connsiteY0" fmla="*/ 0 h 252545"/>
                <a:gd name="connsiteX1" fmla="*/ 0 w 286550"/>
                <a:gd name="connsiteY1" fmla="*/ 50781 h 252545"/>
                <a:gd name="connsiteX2" fmla="*/ 251185 w 286550"/>
                <a:gd name="connsiteY2" fmla="*/ 252545 h 252545"/>
                <a:gd name="connsiteX3" fmla="*/ 286550 w 286550"/>
                <a:gd name="connsiteY3" fmla="*/ 178641 h 252545"/>
                <a:gd name="connsiteX4" fmla="*/ 64837 w 286550"/>
                <a:gd name="connsiteY4" fmla="*/ 0 h 252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6550" h="252545">
                  <a:moveTo>
                    <a:pt x="64837" y="0"/>
                  </a:moveTo>
                  <a:lnTo>
                    <a:pt x="0" y="50781"/>
                  </a:lnTo>
                  <a:cubicBezTo>
                    <a:pt x="67104" y="136021"/>
                    <a:pt x="153703" y="205845"/>
                    <a:pt x="251185" y="252545"/>
                  </a:cubicBezTo>
                  <a:lnTo>
                    <a:pt x="286550" y="178641"/>
                  </a:lnTo>
                  <a:cubicBezTo>
                    <a:pt x="200858" y="136928"/>
                    <a:pt x="123779" y="75265"/>
                    <a:pt x="64837" y="0"/>
                  </a:cubicBez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Полилиния: фигура 59">
              <a:extLst>
                <a:ext uri="{FF2B5EF4-FFF2-40B4-BE49-F238E27FC236}">
                  <a16:creationId xmlns:a16="http://schemas.microsoft.com/office/drawing/2014/main" id="{6862E3D5-B8FF-DD47-81D8-C41B38387CB1}"/>
                </a:ext>
              </a:extLst>
            </p:cNvPr>
            <p:cNvSpPr/>
            <p:nvPr/>
          </p:nvSpPr>
          <p:spPr>
            <a:xfrm>
              <a:off x="10595568" y="3092121"/>
              <a:ext cx="311941" cy="311941"/>
            </a:xfrm>
            <a:custGeom>
              <a:avLst/>
              <a:gdLst>
                <a:gd name="connsiteX0" fmla="*/ 155971 w 311941"/>
                <a:gd name="connsiteY0" fmla="*/ 311941 h 311941"/>
                <a:gd name="connsiteX1" fmla="*/ 311941 w 311941"/>
                <a:gd name="connsiteY1" fmla="*/ 155971 h 311941"/>
                <a:gd name="connsiteX2" fmla="*/ 155971 w 311941"/>
                <a:gd name="connsiteY2" fmla="*/ 0 h 311941"/>
                <a:gd name="connsiteX3" fmla="*/ 0 w 311941"/>
                <a:gd name="connsiteY3" fmla="*/ 155971 h 311941"/>
                <a:gd name="connsiteX4" fmla="*/ 155971 w 311941"/>
                <a:gd name="connsiteY4" fmla="*/ 311941 h 311941"/>
                <a:gd name="connsiteX5" fmla="*/ 155971 w 311941"/>
                <a:gd name="connsiteY5" fmla="*/ 82519 h 311941"/>
                <a:gd name="connsiteX6" fmla="*/ 229422 w 311941"/>
                <a:gd name="connsiteY6" fmla="*/ 155971 h 311941"/>
                <a:gd name="connsiteX7" fmla="*/ 155971 w 311941"/>
                <a:gd name="connsiteY7" fmla="*/ 229422 h 311941"/>
                <a:gd name="connsiteX8" fmla="*/ 82520 w 311941"/>
                <a:gd name="connsiteY8" fmla="*/ 155971 h 311941"/>
                <a:gd name="connsiteX9" fmla="*/ 155971 w 311941"/>
                <a:gd name="connsiteY9" fmla="*/ 82519 h 31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1941" h="311941">
                  <a:moveTo>
                    <a:pt x="155971" y="311941"/>
                  </a:moveTo>
                  <a:cubicBezTo>
                    <a:pt x="241664" y="311941"/>
                    <a:pt x="311941" y="242117"/>
                    <a:pt x="311941" y="155971"/>
                  </a:cubicBezTo>
                  <a:cubicBezTo>
                    <a:pt x="311941" y="69824"/>
                    <a:pt x="242118" y="0"/>
                    <a:pt x="155971" y="0"/>
                  </a:cubicBezTo>
                  <a:cubicBezTo>
                    <a:pt x="69825" y="0"/>
                    <a:pt x="0" y="69824"/>
                    <a:pt x="0" y="155971"/>
                  </a:cubicBezTo>
                  <a:cubicBezTo>
                    <a:pt x="0" y="242117"/>
                    <a:pt x="70277" y="311941"/>
                    <a:pt x="155971" y="311941"/>
                  </a:cubicBezTo>
                  <a:close/>
                  <a:moveTo>
                    <a:pt x="155971" y="82519"/>
                  </a:moveTo>
                  <a:cubicBezTo>
                    <a:pt x="196777" y="82519"/>
                    <a:pt x="229422" y="115618"/>
                    <a:pt x="229422" y="155971"/>
                  </a:cubicBezTo>
                  <a:cubicBezTo>
                    <a:pt x="229422" y="196323"/>
                    <a:pt x="196324" y="229422"/>
                    <a:pt x="155971" y="229422"/>
                  </a:cubicBezTo>
                  <a:cubicBezTo>
                    <a:pt x="115618" y="229422"/>
                    <a:pt x="82520" y="196323"/>
                    <a:pt x="82520" y="155971"/>
                  </a:cubicBezTo>
                  <a:cubicBezTo>
                    <a:pt x="82520" y="115618"/>
                    <a:pt x="115618" y="82519"/>
                    <a:pt x="155971" y="82519"/>
                  </a:cubicBez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Полилиния: фигура 60">
              <a:extLst>
                <a:ext uri="{FF2B5EF4-FFF2-40B4-BE49-F238E27FC236}">
                  <a16:creationId xmlns:a16="http://schemas.microsoft.com/office/drawing/2014/main" id="{C9D01A0C-1D66-DD4E-AFFF-FDBCDB53B973}"/>
                </a:ext>
              </a:extLst>
            </p:cNvPr>
            <p:cNvSpPr/>
            <p:nvPr/>
          </p:nvSpPr>
          <p:spPr>
            <a:xfrm>
              <a:off x="10549775" y="3417211"/>
              <a:ext cx="403528" cy="334611"/>
            </a:xfrm>
            <a:custGeom>
              <a:avLst/>
              <a:gdLst>
                <a:gd name="connsiteX0" fmla="*/ 403528 w 403528"/>
                <a:gd name="connsiteY0" fmla="*/ 89320 h 334611"/>
                <a:gd name="connsiteX1" fmla="*/ 284283 w 403528"/>
                <a:gd name="connsiteY1" fmla="*/ 0 h 334611"/>
                <a:gd name="connsiteX2" fmla="*/ 119245 w 403528"/>
                <a:gd name="connsiteY2" fmla="*/ 0 h 334611"/>
                <a:gd name="connsiteX3" fmla="*/ 0 w 403528"/>
                <a:gd name="connsiteY3" fmla="*/ 89320 h 334611"/>
                <a:gd name="connsiteX4" fmla="*/ 0 w 403528"/>
                <a:gd name="connsiteY4" fmla="*/ 334611 h 334611"/>
                <a:gd name="connsiteX5" fmla="*/ 403075 w 403528"/>
                <a:gd name="connsiteY5" fmla="*/ 334611 h 334611"/>
                <a:gd name="connsiteX6" fmla="*/ 403075 w 403528"/>
                <a:gd name="connsiteY6" fmla="*/ 89320 h 334611"/>
                <a:gd name="connsiteX7" fmla="*/ 321009 w 403528"/>
                <a:gd name="connsiteY7" fmla="*/ 252545 h 334611"/>
                <a:gd name="connsiteX8" fmla="*/ 82519 w 403528"/>
                <a:gd name="connsiteY8" fmla="*/ 252545 h 334611"/>
                <a:gd name="connsiteX9" fmla="*/ 82519 w 403528"/>
                <a:gd name="connsiteY9" fmla="*/ 130580 h 334611"/>
                <a:gd name="connsiteX10" fmla="*/ 146902 w 403528"/>
                <a:gd name="connsiteY10" fmla="*/ 82066 h 334611"/>
                <a:gd name="connsiteX11" fmla="*/ 257079 w 403528"/>
                <a:gd name="connsiteY11" fmla="*/ 82066 h 334611"/>
                <a:gd name="connsiteX12" fmla="*/ 321462 w 403528"/>
                <a:gd name="connsiteY12" fmla="*/ 130127 h 334611"/>
                <a:gd name="connsiteX13" fmla="*/ 321462 w 403528"/>
                <a:gd name="connsiteY13" fmla="*/ 252545 h 33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528" h="334611">
                  <a:moveTo>
                    <a:pt x="403528" y="89320"/>
                  </a:moveTo>
                  <a:lnTo>
                    <a:pt x="284283" y="0"/>
                  </a:lnTo>
                  <a:lnTo>
                    <a:pt x="119245" y="0"/>
                  </a:lnTo>
                  <a:lnTo>
                    <a:pt x="0" y="89320"/>
                  </a:lnTo>
                  <a:lnTo>
                    <a:pt x="0" y="334611"/>
                  </a:lnTo>
                  <a:lnTo>
                    <a:pt x="403075" y="334611"/>
                  </a:lnTo>
                  <a:lnTo>
                    <a:pt x="403075" y="89320"/>
                  </a:lnTo>
                  <a:close/>
                  <a:moveTo>
                    <a:pt x="321009" y="252545"/>
                  </a:moveTo>
                  <a:lnTo>
                    <a:pt x="82519" y="252545"/>
                  </a:lnTo>
                  <a:lnTo>
                    <a:pt x="82519" y="130580"/>
                  </a:lnTo>
                  <a:lnTo>
                    <a:pt x="146902" y="82066"/>
                  </a:lnTo>
                  <a:lnTo>
                    <a:pt x="257079" y="82066"/>
                  </a:lnTo>
                  <a:lnTo>
                    <a:pt x="321462" y="130127"/>
                  </a:lnTo>
                  <a:lnTo>
                    <a:pt x="321462" y="252545"/>
                  </a:ln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Полилиния: фигура 61">
              <a:extLst>
                <a:ext uri="{FF2B5EF4-FFF2-40B4-BE49-F238E27FC236}">
                  <a16:creationId xmlns:a16="http://schemas.microsoft.com/office/drawing/2014/main" id="{36D00501-B3D0-1340-A5D1-E754529423CB}"/>
                </a:ext>
              </a:extLst>
            </p:cNvPr>
            <p:cNvSpPr/>
            <p:nvPr/>
          </p:nvSpPr>
          <p:spPr>
            <a:xfrm>
              <a:off x="11836078" y="3092121"/>
              <a:ext cx="311941" cy="311941"/>
            </a:xfrm>
            <a:custGeom>
              <a:avLst/>
              <a:gdLst>
                <a:gd name="connsiteX0" fmla="*/ 0 w 311941"/>
                <a:gd name="connsiteY0" fmla="*/ 155971 h 311941"/>
                <a:gd name="connsiteX1" fmla="*/ 155970 w 311941"/>
                <a:gd name="connsiteY1" fmla="*/ 311941 h 311941"/>
                <a:gd name="connsiteX2" fmla="*/ 311941 w 311941"/>
                <a:gd name="connsiteY2" fmla="*/ 155971 h 311941"/>
                <a:gd name="connsiteX3" fmla="*/ 155970 w 311941"/>
                <a:gd name="connsiteY3" fmla="*/ 0 h 311941"/>
                <a:gd name="connsiteX4" fmla="*/ 0 w 311941"/>
                <a:gd name="connsiteY4" fmla="*/ 155971 h 311941"/>
                <a:gd name="connsiteX5" fmla="*/ 155970 w 311941"/>
                <a:gd name="connsiteY5" fmla="*/ 82519 h 311941"/>
                <a:gd name="connsiteX6" fmla="*/ 229422 w 311941"/>
                <a:gd name="connsiteY6" fmla="*/ 155971 h 311941"/>
                <a:gd name="connsiteX7" fmla="*/ 155970 w 311941"/>
                <a:gd name="connsiteY7" fmla="*/ 229422 h 311941"/>
                <a:gd name="connsiteX8" fmla="*/ 82519 w 311941"/>
                <a:gd name="connsiteY8" fmla="*/ 155971 h 311941"/>
                <a:gd name="connsiteX9" fmla="*/ 155970 w 311941"/>
                <a:gd name="connsiteY9" fmla="*/ 82519 h 31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1941" h="311941">
                  <a:moveTo>
                    <a:pt x="0" y="155971"/>
                  </a:moveTo>
                  <a:cubicBezTo>
                    <a:pt x="0" y="241664"/>
                    <a:pt x="69824" y="311941"/>
                    <a:pt x="155970" y="311941"/>
                  </a:cubicBezTo>
                  <a:cubicBezTo>
                    <a:pt x="242117" y="311941"/>
                    <a:pt x="311941" y="242117"/>
                    <a:pt x="311941" y="155971"/>
                  </a:cubicBezTo>
                  <a:cubicBezTo>
                    <a:pt x="311941" y="69824"/>
                    <a:pt x="242117" y="0"/>
                    <a:pt x="155970" y="0"/>
                  </a:cubicBezTo>
                  <a:cubicBezTo>
                    <a:pt x="69824" y="0"/>
                    <a:pt x="0" y="70277"/>
                    <a:pt x="0" y="155971"/>
                  </a:cubicBezTo>
                  <a:close/>
                  <a:moveTo>
                    <a:pt x="155970" y="82519"/>
                  </a:moveTo>
                  <a:cubicBezTo>
                    <a:pt x="196776" y="82519"/>
                    <a:pt x="229422" y="115618"/>
                    <a:pt x="229422" y="155971"/>
                  </a:cubicBezTo>
                  <a:cubicBezTo>
                    <a:pt x="229422" y="196323"/>
                    <a:pt x="196324" y="229422"/>
                    <a:pt x="155970" y="229422"/>
                  </a:cubicBezTo>
                  <a:cubicBezTo>
                    <a:pt x="115164" y="229422"/>
                    <a:pt x="82519" y="196323"/>
                    <a:pt x="82519" y="155971"/>
                  </a:cubicBezTo>
                  <a:cubicBezTo>
                    <a:pt x="82519" y="115618"/>
                    <a:pt x="115164" y="82519"/>
                    <a:pt x="155970" y="82519"/>
                  </a:cubicBez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Полилиния: фигура 62">
              <a:extLst>
                <a:ext uri="{FF2B5EF4-FFF2-40B4-BE49-F238E27FC236}">
                  <a16:creationId xmlns:a16="http://schemas.microsoft.com/office/drawing/2014/main" id="{814CF2A6-01DB-704E-B4DD-CF68CCA5B867}"/>
                </a:ext>
              </a:extLst>
            </p:cNvPr>
            <p:cNvSpPr/>
            <p:nvPr/>
          </p:nvSpPr>
          <p:spPr>
            <a:xfrm>
              <a:off x="11790284" y="3417211"/>
              <a:ext cx="403528" cy="334611"/>
            </a:xfrm>
            <a:custGeom>
              <a:avLst/>
              <a:gdLst>
                <a:gd name="connsiteX0" fmla="*/ 284284 w 403528"/>
                <a:gd name="connsiteY0" fmla="*/ 0 h 334611"/>
                <a:gd name="connsiteX1" fmla="*/ 119245 w 403528"/>
                <a:gd name="connsiteY1" fmla="*/ 0 h 334611"/>
                <a:gd name="connsiteX2" fmla="*/ 0 w 403528"/>
                <a:gd name="connsiteY2" fmla="*/ 89320 h 334611"/>
                <a:gd name="connsiteX3" fmla="*/ 0 w 403528"/>
                <a:gd name="connsiteY3" fmla="*/ 334611 h 334611"/>
                <a:gd name="connsiteX4" fmla="*/ 403528 w 403528"/>
                <a:gd name="connsiteY4" fmla="*/ 334611 h 334611"/>
                <a:gd name="connsiteX5" fmla="*/ 403528 w 403528"/>
                <a:gd name="connsiteY5" fmla="*/ 89320 h 334611"/>
                <a:gd name="connsiteX6" fmla="*/ 284284 w 403528"/>
                <a:gd name="connsiteY6" fmla="*/ 0 h 334611"/>
                <a:gd name="connsiteX7" fmla="*/ 321009 w 403528"/>
                <a:gd name="connsiteY7" fmla="*/ 252545 h 334611"/>
                <a:gd name="connsiteX8" fmla="*/ 82066 w 403528"/>
                <a:gd name="connsiteY8" fmla="*/ 252545 h 334611"/>
                <a:gd name="connsiteX9" fmla="*/ 82066 w 403528"/>
                <a:gd name="connsiteY9" fmla="*/ 130580 h 334611"/>
                <a:gd name="connsiteX10" fmla="*/ 146449 w 403528"/>
                <a:gd name="connsiteY10" fmla="*/ 82066 h 334611"/>
                <a:gd name="connsiteX11" fmla="*/ 256626 w 403528"/>
                <a:gd name="connsiteY11" fmla="*/ 82066 h 334611"/>
                <a:gd name="connsiteX12" fmla="*/ 321009 w 403528"/>
                <a:gd name="connsiteY12" fmla="*/ 130127 h 334611"/>
                <a:gd name="connsiteX13" fmla="*/ 321009 w 403528"/>
                <a:gd name="connsiteY13" fmla="*/ 252545 h 33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528" h="334611">
                  <a:moveTo>
                    <a:pt x="284284" y="0"/>
                  </a:moveTo>
                  <a:lnTo>
                    <a:pt x="119245" y="0"/>
                  </a:lnTo>
                  <a:lnTo>
                    <a:pt x="0" y="89320"/>
                  </a:lnTo>
                  <a:lnTo>
                    <a:pt x="0" y="334611"/>
                  </a:lnTo>
                  <a:lnTo>
                    <a:pt x="403528" y="334611"/>
                  </a:lnTo>
                  <a:lnTo>
                    <a:pt x="403528" y="89320"/>
                  </a:lnTo>
                  <a:lnTo>
                    <a:pt x="284284" y="0"/>
                  </a:lnTo>
                  <a:close/>
                  <a:moveTo>
                    <a:pt x="321009" y="252545"/>
                  </a:moveTo>
                  <a:lnTo>
                    <a:pt x="82066" y="252545"/>
                  </a:lnTo>
                  <a:lnTo>
                    <a:pt x="82066" y="130580"/>
                  </a:lnTo>
                  <a:lnTo>
                    <a:pt x="146449" y="82066"/>
                  </a:lnTo>
                  <a:lnTo>
                    <a:pt x="256626" y="82066"/>
                  </a:lnTo>
                  <a:lnTo>
                    <a:pt x="321009" y="130127"/>
                  </a:lnTo>
                  <a:lnTo>
                    <a:pt x="321009" y="252545"/>
                  </a:ln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63">
              <a:extLst>
                <a:ext uri="{FF2B5EF4-FFF2-40B4-BE49-F238E27FC236}">
                  <a16:creationId xmlns:a16="http://schemas.microsoft.com/office/drawing/2014/main" id="{EDB60F09-E5BA-E54F-9C01-AA84566252A2}"/>
                </a:ext>
              </a:extLst>
            </p:cNvPr>
            <p:cNvSpPr/>
            <p:nvPr/>
          </p:nvSpPr>
          <p:spPr>
            <a:xfrm>
              <a:off x="11215823" y="2600179"/>
              <a:ext cx="311941" cy="311487"/>
            </a:xfrm>
            <a:custGeom>
              <a:avLst/>
              <a:gdLst>
                <a:gd name="connsiteX0" fmla="*/ 155971 w 311941"/>
                <a:gd name="connsiteY0" fmla="*/ 311488 h 311487"/>
                <a:gd name="connsiteX1" fmla="*/ 311941 w 311941"/>
                <a:gd name="connsiteY1" fmla="*/ 155517 h 311487"/>
                <a:gd name="connsiteX2" fmla="*/ 155971 w 311941"/>
                <a:gd name="connsiteY2" fmla="*/ 0 h 311487"/>
                <a:gd name="connsiteX3" fmla="*/ 0 w 311941"/>
                <a:gd name="connsiteY3" fmla="*/ 155971 h 311487"/>
                <a:gd name="connsiteX4" fmla="*/ 155971 w 311941"/>
                <a:gd name="connsiteY4" fmla="*/ 311488 h 311487"/>
                <a:gd name="connsiteX5" fmla="*/ 155971 w 311941"/>
                <a:gd name="connsiteY5" fmla="*/ 82519 h 311487"/>
                <a:gd name="connsiteX6" fmla="*/ 229422 w 311941"/>
                <a:gd name="connsiteY6" fmla="*/ 155971 h 311487"/>
                <a:gd name="connsiteX7" fmla="*/ 155971 w 311941"/>
                <a:gd name="connsiteY7" fmla="*/ 229422 h 311487"/>
                <a:gd name="connsiteX8" fmla="*/ 82519 w 311941"/>
                <a:gd name="connsiteY8" fmla="*/ 155971 h 311487"/>
                <a:gd name="connsiteX9" fmla="*/ 155971 w 311941"/>
                <a:gd name="connsiteY9" fmla="*/ 82519 h 31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1941" h="311487">
                  <a:moveTo>
                    <a:pt x="155971" y="311488"/>
                  </a:moveTo>
                  <a:cubicBezTo>
                    <a:pt x="241664" y="311488"/>
                    <a:pt x="311941" y="241664"/>
                    <a:pt x="311941" y="155517"/>
                  </a:cubicBezTo>
                  <a:cubicBezTo>
                    <a:pt x="311941" y="69371"/>
                    <a:pt x="241664" y="0"/>
                    <a:pt x="155971" y="0"/>
                  </a:cubicBezTo>
                  <a:cubicBezTo>
                    <a:pt x="70277" y="0"/>
                    <a:pt x="0" y="69824"/>
                    <a:pt x="0" y="155971"/>
                  </a:cubicBezTo>
                  <a:cubicBezTo>
                    <a:pt x="0" y="242117"/>
                    <a:pt x="69825" y="311488"/>
                    <a:pt x="155971" y="311488"/>
                  </a:cubicBezTo>
                  <a:close/>
                  <a:moveTo>
                    <a:pt x="155971" y="82519"/>
                  </a:moveTo>
                  <a:cubicBezTo>
                    <a:pt x="196777" y="82519"/>
                    <a:pt x="229422" y="115618"/>
                    <a:pt x="229422" y="155971"/>
                  </a:cubicBezTo>
                  <a:cubicBezTo>
                    <a:pt x="229422" y="196323"/>
                    <a:pt x="196324" y="229422"/>
                    <a:pt x="155971" y="229422"/>
                  </a:cubicBezTo>
                  <a:cubicBezTo>
                    <a:pt x="115165" y="229422"/>
                    <a:pt x="82519" y="196323"/>
                    <a:pt x="82519" y="155971"/>
                  </a:cubicBezTo>
                  <a:cubicBezTo>
                    <a:pt x="82519" y="115618"/>
                    <a:pt x="115165" y="82519"/>
                    <a:pt x="155971" y="82519"/>
                  </a:cubicBez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Полилиния: фигура 64">
              <a:extLst>
                <a:ext uri="{FF2B5EF4-FFF2-40B4-BE49-F238E27FC236}">
                  <a16:creationId xmlns:a16="http://schemas.microsoft.com/office/drawing/2014/main" id="{D7074049-2188-B545-8CA9-2616783E98C8}"/>
                </a:ext>
              </a:extLst>
            </p:cNvPr>
            <p:cNvSpPr/>
            <p:nvPr/>
          </p:nvSpPr>
          <p:spPr>
            <a:xfrm>
              <a:off x="11170030" y="2925269"/>
              <a:ext cx="403074" cy="334611"/>
            </a:xfrm>
            <a:custGeom>
              <a:avLst/>
              <a:gdLst>
                <a:gd name="connsiteX0" fmla="*/ 119244 w 403074"/>
                <a:gd name="connsiteY0" fmla="*/ 0 h 334611"/>
                <a:gd name="connsiteX1" fmla="*/ 0 w 403074"/>
                <a:gd name="connsiteY1" fmla="*/ 89320 h 334611"/>
                <a:gd name="connsiteX2" fmla="*/ 0 w 403074"/>
                <a:gd name="connsiteY2" fmla="*/ 334611 h 334611"/>
                <a:gd name="connsiteX3" fmla="*/ 403075 w 403074"/>
                <a:gd name="connsiteY3" fmla="*/ 334611 h 334611"/>
                <a:gd name="connsiteX4" fmla="*/ 403075 w 403074"/>
                <a:gd name="connsiteY4" fmla="*/ 89320 h 334611"/>
                <a:gd name="connsiteX5" fmla="*/ 283829 w 403074"/>
                <a:gd name="connsiteY5" fmla="*/ 0 h 334611"/>
                <a:gd name="connsiteX6" fmla="*/ 119244 w 403074"/>
                <a:gd name="connsiteY6" fmla="*/ 0 h 334611"/>
                <a:gd name="connsiteX7" fmla="*/ 321008 w 403074"/>
                <a:gd name="connsiteY7" fmla="*/ 252092 h 334611"/>
                <a:gd name="connsiteX8" fmla="*/ 82065 w 403074"/>
                <a:gd name="connsiteY8" fmla="*/ 252092 h 334611"/>
                <a:gd name="connsiteX9" fmla="*/ 82065 w 403074"/>
                <a:gd name="connsiteY9" fmla="*/ 130127 h 334611"/>
                <a:gd name="connsiteX10" fmla="*/ 146448 w 403074"/>
                <a:gd name="connsiteY10" fmla="*/ 81612 h 334611"/>
                <a:gd name="connsiteX11" fmla="*/ 256625 w 403074"/>
                <a:gd name="connsiteY11" fmla="*/ 81612 h 334611"/>
                <a:gd name="connsiteX12" fmla="*/ 321008 w 403074"/>
                <a:gd name="connsiteY12" fmla="*/ 129673 h 334611"/>
                <a:gd name="connsiteX13" fmla="*/ 321008 w 403074"/>
                <a:gd name="connsiteY13" fmla="*/ 252092 h 33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074" h="334611">
                  <a:moveTo>
                    <a:pt x="119244" y="0"/>
                  </a:moveTo>
                  <a:lnTo>
                    <a:pt x="0" y="89320"/>
                  </a:lnTo>
                  <a:lnTo>
                    <a:pt x="0" y="334611"/>
                  </a:lnTo>
                  <a:lnTo>
                    <a:pt x="403075" y="334611"/>
                  </a:lnTo>
                  <a:lnTo>
                    <a:pt x="403075" y="89320"/>
                  </a:lnTo>
                  <a:lnTo>
                    <a:pt x="283829" y="0"/>
                  </a:lnTo>
                  <a:lnTo>
                    <a:pt x="119244" y="0"/>
                  </a:lnTo>
                  <a:close/>
                  <a:moveTo>
                    <a:pt x="321008" y="252092"/>
                  </a:moveTo>
                  <a:lnTo>
                    <a:pt x="82065" y="252092"/>
                  </a:lnTo>
                  <a:lnTo>
                    <a:pt x="82065" y="130127"/>
                  </a:lnTo>
                  <a:lnTo>
                    <a:pt x="146448" y="81612"/>
                  </a:lnTo>
                  <a:lnTo>
                    <a:pt x="256625" y="81612"/>
                  </a:lnTo>
                  <a:lnTo>
                    <a:pt x="321008" y="129673"/>
                  </a:lnTo>
                  <a:lnTo>
                    <a:pt x="321008" y="252092"/>
                  </a:ln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Полилиния: фигура 65">
              <a:extLst>
                <a:ext uri="{FF2B5EF4-FFF2-40B4-BE49-F238E27FC236}">
                  <a16:creationId xmlns:a16="http://schemas.microsoft.com/office/drawing/2014/main" id="{3D91A796-7EF5-3C44-8106-FD9782117B32}"/>
                </a:ext>
              </a:extLst>
            </p:cNvPr>
            <p:cNvSpPr/>
            <p:nvPr/>
          </p:nvSpPr>
          <p:spPr>
            <a:xfrm>
              <a:off x="11215370" y="3586330"/>
              <a:ext cx="311940" cy="311941"/>
            </a:xfrm>
            <a:custGeom>
              <a:avLst/>
              <a:gdLst>
                <a:gd name="connsiteX0" fmla="*/ 311940 w 311940"/>
                <a:gd name="connsiteY0" fmla="*/ 155971 h 311941"/>
                <a:gd name="connsiteX1" fmla="*/ 155970 w 311940"/>
                <a:gd name="connsiteY1" fmla="*/ 0 h 311941"/>
                <a:gd name="connsiteX2" fmla="*/ 0 w 311940"/>
                <a:gd name="connsiteY2" fmla="*/ 155971 h 311941"/>
                <a:gd name="connsiteX3" fmla="*/ 155970 w 311940"/>
                <a:gd name="connsiteY3" fmla="*/ 311941 h 311941"/>
                <a:gd name="connsiteX4" fmla="*/ 311940 w 311940"/>
                <a:gd name="connsiteY4" fmla="*/ 155971 h 311941"/>
                <a:gd name="connsiteX5" fmla="*/ 82519 w 311940"/>
                <a:gd name="connsiteY5" fmla="*/ 155971 h 311941"/>
                <a:gd name="connsiteX6" fmla="*/ 155970 w 311940"/>
                <a:gd name="connsiteY6" fmla="*/ 82519 h 311941"/>
                <a:gd name="connsiteX7" fmla="*/ 229421 w 311940"/>
                <a:gd name="connsiteY7" fmla="*/ 155971 h 311941"/>
                <a:gd name="connsiteX8" fmla="*/ 155970 w 311940"/>
                <a:gd name="connsiteY8" fmla="*/ 229422 h 311941"/>
                <a:gd name="connsiteX9" fmla="*/ 82519 w 311940"/>
                <a:gd name="connsiteY9" fmla="*/ 155971 h 31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1940" h="311941">
                  <a:moveTo>
                    <a:pt x="311940" y="155971"/>
                  </a:moveTo>
                  <a:cubicBezTo>
                    <a:pt x="311940" y="70277"/>
                    <a:pt x="242117" y="0"/>
                    <a:pt x="155970" y="0"/>
                  </a:cubicBezTo>
                  <a:cubicBezTo>
                    <a:pt x="69824" y="0"/>
                    <a:pt x="0" y="69824"/>
                    <a:pt x="0" y="155971"/>
                  </a:cubicBezTo>
                  <a:cubicBezTo>
                    <a:pt x="0" y="242117"/>
                    <a:pt x="69824" y="311941"/>
                    <a:pt x="155970" y="311941"/>
                  </a:cubicBezTo>
                  <a:cubicBezTo>
                    <a:pt x="242117" y="311941"/>
                    <a:pt x="311940" y="241664"/>
                    <a:pt x="311940" y="155971"/>
                  </a:cubicBezTo>
                  <a:close/>
                  <a:moveTo>
                    <a:pt x="82519" y="155971"/>
                  </a:moveTo>
                  <a:cubicBezTo>
                    <a:pt x="82519" y="115164"/>
                    <a:pt x="115618" y="82519"/>
                    <a:pt x="155970" y="82519"/>
                  </a:cubicBezTo>
                  <a:cubicBezTo>
                    <a:pt x="196776" y="82519"/>
                    <a:pt x="229421" y="115618"/>
                    <a:pt x="229421" y="155971"/>
                  </a:cubicBezTo>
                  <a:cubicBezTo>
                    <a:pt x="229421" y="196777"/>
                    <a:pt x="196323" y="229422"/>
                    <a:pt x="155970" y="229422"/>
                  </a:cubicBezTo>
                  <a:cubicBezTo>
                    <a:pt x="115618" y="229422"/>
                    <a:pt x="82519" y="196323"/>
                    <a:pt x="82519" y="155971"/>
                  </a:cubicBez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Полилиния: фигура 66">
              <a:extLst>
                <a:ext uri="{FF2B5EF4-FFF2-40B4-BE49-F238E27FC236}">
                  <a16:creationId xmlns:a16="http://schemas.microsoft.com/office/drawing/2014/main" id="{3D964050-C3E6-7F42-9DCB-61A2D8E93A65}"/>
                </a:ext>
              </a:extLst>
            </p:cNvPr>
            <p:cNvSpPr/>
            <p:nvPr/>
          </p:nvSpPr>
          <p:spPr>
            <a:xfrm>
              <a:off x="11170030" y="3911420"/>
              <a:ext cx="403074" cy="334611"/>
            </a:xfrm>
            <a:custGeom>
              <a:avLst/>
              <a:gdLst>
                <a:gd name="connsiteX0" fmla="*/ 119244 w 403074"/>
                <a:gd name="connsiteY0" fmla="*/ 0 h 334611"/>
                <a:gd name="connsiteX1" fmla="*/ 0 w 403074"/>
                <a:gd name="connsiteY1" fmla="*/ 89320 h 334611"/>
                <a:gd name="connsiteX2" fmla="*/ 0 w 403074"/>
                <a:gd name="connsiteY2" fmla="*/ 334611 h 334611"/>
                <a:gd name="connsiteX3" fmla="*/ 403075 w 403074"/>
                <a:gd name="connsiteY3" fmla="*/ 334611 h 334611"/>
                <a:gd name="connsiteX4" fmla="*/ 403075 w 403074"/>
                <a:gd name="connsiteY4" fmla="*/ 89320 h 334611"/>
                <a:gd name="connsiteX5" fmla="*/ 283829 w 403074"/>
                <a:gd name="connsiteY5" fmla="*/ 0 h 334611"/>
                <a:gd name="connsiteX6" fmla="*/ 119244 w 403074"/>
                <a:gd name="connsiteY6" fmla="*/ 0 h 334611"/>
                <a:gd name="connsiteX7" fmla="*/ 321008 w 403074"/>
                <a:gd name="connsiteY7" fmla="*/ 252092 h 334611"/>
                <a:gd name="connsiteX8" fmla="*/ 82065 w 403074"/>
                <a:gd name="connsiteY8" fmla="*/ 252092 h 334611"/>
                <a:gd name="connsiteX9" fmla="*/ 82065 w 403074"/>
                <a:gd name="connsiteY9" fmla="*/ 130127 h 334611"/>
                <a:gd name="connsiteX10" fmla="*/ 146448 w 403074"/>
                <a:gd name="connsiteY10" fmla="*/ 81612 h 334611"/>
                <a:gd name="connsiteX11" fmla="*/ 256625 w 403074"/>
                <a:gd name="connsiteY11" fmla="*/ 81612 h 334611"/>
                <a:gd name="connsiteX12" fmla="*/ 321008 w 403074"/>
                <a:gd name="connsiteY12" fmla="*/ 129673 h 334611"/>
                <a:gd name="connsiteX13" fmla="*/ 321008 w 403074"/>
                <a:gd name="connsiteY13" fmla="*/ 252092 h 33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074" h="334611">
                  <a:moveTo>
                    <a:pt x="119244" y="0"/>
                  </a:moveTo>
                  <a:lnTo>
                    <a:pt x="0" y="89320"/>
                  </a:lnTo>
                  <a:lnTo>
                    <a:pt x="0" y="334611"/>
                  </a:lnTo>
                  <a:lnTo>
                    <a:pt x="403075" y="334611"/>
                  </a:lnTo>
                  <a:lnTo>
                    <a:pt x="403075" y="89320"/>
                  </a:lnTo>
                  <a:lnTo>
                    <a:pt x="283829" y="0"/>
                  </a:lnTo>
                  <a:lnTo>
                    <a:pt x="119244" y="0"/>
                  </a:lnTo>
                  <a:close/>
                  <a:moveTo>
                    <a:pt x="321008" y="252092"/>
                  </a:moveTo>
                  <a:lnTo>
                    <a:pt x="82065" y="252092"/>
                  </a:lnTo>
                  <a:lnTo>
                    <a:pt x="82065" y="130127"/>
                  </a:lnTo>
                  <a:lnTo>
                    <a:pt x="146448" y="81612"/>
                  </a:lnTo>
                  <a:lnTo>
                    <a:pt x="256625" y="81612"/>
                  </a:lnTo>
                  <a:lnTo>
                    <a:pt x="321008" y="129673"/>
                  </a:lnTo>
                  <a:lnTo>
                    <a:pt x="321008" y="252092"/>
                  </a:lnTo>
                  <a:close/>
                </a:path>
              </a:pathLst>
            </a:custGeom>
            <a:grpFill/>
            <a:ln w="453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2" name="Стрелка: пятиугольник 41">
            <a:extLst>
              <a:ext uri="{FF2B5EF4-FFF2-40B4-BE49-F238E27FC236}">
                <a16:creationId xmlns:a16="http://schemas.microsoft.com/office/drawing/2014/main" id="{7F90E03E-287E-8443-BBF8-741EC15CFC3D}"/>
              </a:ext>
            </a:extLst>
          </p:cNvPr>
          <p:cNvSpPr/>
          <p:nvPr/>
        </p:nvSpPr>
        <p:spPr>
          <a:xfrm>
            <a:off x="407988" y="1151467"/>
            <a:ext cx="1674812" cy="103997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6C9504C8-7D57-D542-AF5F-022C74D78345}"/>
              </a:ext>
            </a:extLst>
          </p:cNvPr>
          <p:cNvSpPr/>
          <p:nvPr/>
        </p:nvSpPr>
        <p:spPr>
          <a:xfrm>
            <a:off x="407989" y="2709997"/>
            <a:ext cx="11376024" cy="3598728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Rectangle 1">
            <a:extLst>
              <a:ext uri="{FF2B5EF4-FFF2-40B4-BE49-F238E27FC236}">
                <a16:creationId xmlns:a16="http://schemas.microsoft.com/office/drawing/2014/main" id="{4BD54A5F-479A-094C-B343-76368730900E}"/>
              </a:ext>
            </a:extLst>
          </p:cNvPr>
          <p:cNvSpPr/>
          <p:nvPr/>
        </p:nvSpPr>
        <p:spPr>
          <a:xfrm>
            <a:off x="325292" y="2288763"/>
            <a:ext cx="31449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ссмотренные альтернативы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Прямоугольник 103">
            <a:extLst>
              <a:ext uri="{FF2B5EF4-FFF2-40B4-BE49-F238E27FC236}">
                <a16:creationId xmlns:a16="http://schemas.microsoft.com/office/drawing/2014/main" id="{0AD93361-2028-E544-B6D3-45F3EE6C6C62}"/>
              </a:ext>
            </a:extLst>
          </p:cNvPr>
          <p:cNvSpPr/>
          <p:nvPr/>
        </p:nvSpPr>
        <p:spPr>
          <a:xfrm>
            <a:off x="822317" y="3032786"/>
            <a:ext cx="3600054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работка существующих систем и их интеграция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Прямоугольник 103">
            <a:extLst>
              <a:ext uri="{FF2B5EF4-FFF2-40B4-BE49-F238E27FC236}">
                <a16:creationId xmlns:a16="http://schemas.microsoft.com/office/drawing/2014/main" id="{7438DB8B-E462-3C41-A389-0FB7C8A73B37}"/>
              </a:ext>
            </a:extLst>
          </p:cNvPr>
          <p:cNvSpPr/>
          <p:nvPr/>
        </p:nvSpPr>
        <p:spPr>
          <a:xfrm>
            <a:off x="822317" y="4126325"/>
            <a:ext cx="371643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граммное обеспечение зарубежных разработчиков</a:t>
            </a:r>
            <a:endParaRPr kumimoji="0" lang="en-US" b="0" i="0" u="sng" strike="noStrike" kern="120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Прямоугольник 103">
            <a:extLst>
              <a:ext uri="{FF2B5EF4-FFF2-40B4-BE49-F238E27FC236}">
                <a16:creationId xmlns:a16="http://schemas.microsoft.com/office/drawing/2014/main" id="{AEB5E454-C7C5-944D-80E4-D252513EE1DC}"/>
              </a:ext>
            </a:extLst>
          </p:cNvPr>
          <p:cNvSpPr/>
          <p:nvPr/>
        </p:nvSpPr>
        <p:spPr>
          <a:xfrm>
            <a:off x="822317" y="5261611"/>
            <a:ext cx="3309109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граммное обеспечение российских</a:t>
            </a:r>
            <a:r>
              <a:rPr kumimoji="0" lang="ru-RU" b="0" i="0" u="none" strike="noStrike" kern="1200" cap="none" spc="0" normalizeH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b="0" i="0" u="none" strike="noStrike" kern="1200" cap="none" spc="0" normalizeH="0" noProof="0" dirty="0" err="1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ендоров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EC7633E5-529C-B249-BC24-B2941CE8041A}"/>
              </a:ext>
            </a:extLst>
          </p:cNvPr>
          <p:cNvCxnSpPr/>
          <p:nvPr/>
        </p:nvCxnSpPr>
        <p:spPr bwMode="auto">
          <a:xfrm rot="5400000">
            <a:off x="6096001" y="-1778440"/>
            <a:ext cx="0" cy="1137602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3">
                <a:alpha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6EBC0207-1A9E-F34D-A1E6-E04C648C1397}"/>
              </a:ext>
            </a:extLst>
          </p:cNvPr>
          <p:cNvCxnSpPr/>
          <p:nvPr/>
        </p:nvCxnSpPr>
        <p:spPr bwMode="auto">
          <a:xfrm rot="5400000">
            <a:off x="6096001" y="-578864"/>
            <a:ext cx="0" cy="1137602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3">
                <a:alpha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EEACE56B-2A27-0D4F-A02B-8E3FAE6B11E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87227" y="3209458"/>
            <a:ext cx="495340" cy="316074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2F9DFAA6-68BE-7849-9AD8-B206B336539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61075" y="4286420"/>
            <a:ext cx="495340" cy="316074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E613818A-CCDA-ED4C-AE3F-FF47D358133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61075" y="5398427"/>
            <a:ext cx="495340" cy="316074"/>
          </a:xfrm>
          <a:prstGeom prst="rect">
            <a:avLst/>
          </a:prstGeom>
        </p:spPr>
      </p:pic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D55F2D48-D5D8-484E-A5CB-1FA594E0D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/>
          <a:lstStyle/>
          <a:p>
            <a:r>
              <a:rPr lang="ru-RU" dirty="0" smtClean="0"/>
              <a:t>Предпосылки внедрения</a:t>
            </a:r>
            <a:endParaRPr lang="ru-RU" dirty="0"/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4DF99804-0D14-4A5E-B739-477603D0F8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12.11.2020</a:t>
            </a:r>
          </a:p>
        </p:txBody>
      </p:sp>
      <p:pic>
        <p:nvPicPr>
          <p:cNvPr id="15" name="Graphic 20">
            <a:extLst>
              <a:ext uri="{FF2B5EF4-FFF2-40B4-BE49-F238E27FC236}">
                <a16:creationId xmlns:a16="http://schemas.microsoft.com/office/drawing/2014/main" id="{5DB90875-52FE-4C99-84AD-A0C6B69A899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28001" y="1376923"/>
            <a:ext cx="589066" cy="589064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13834E4-D53A-4AB1-8AF8-DF0BCC930A39}"/>
              </a:ext>
            </a:extLst>
          </p:cNvPr>
          <p:cNvSpPr/>
          <p:nvPr/>
        </p:nvSpPr>
        <p:spPr>
          <a:xfrm>
            <a:off x="2037081" y="1151467"/>
            <a:ext cx="45719" cy="10399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Номер слайда 16">
            <a:extLst>
              <a:ext uri="{FF2B5EF4-FFF2-40B4-BE49-F238E27FC236}">
                <a16:creationId xmlns:a16="http://schemas.microsoft.com/office/drawing/2014/main" id="{C57C58CF-326F-4CBC-B3B9-E70E6BFDEE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932379" y="6561348"/>
            <a:ext cx="648072" cy="230864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Прямоугольник 103">
            <a:extLst>
              <a:ext uri="{FF2B5EF4-FFF2-40B4-BE49-F238E27FC236}">
                <a16:creationId xmlns:a16="http://schemas.microsoft.com/office/drawing/2014/main" id="{0AD93361-2028-E544-B6D3-45F3EE6C6C62}"/>
              </a:ext>
            </a:extLst>
          </p:cNvPr>
          <p:cNvSpPr/>
          <p:nvPr/>
        </p:nvSpPr>
        <p:spPr>
          <a:xfrm>
            <a:off x="6018414" y="2984488"/>
            <a:ext cx="5685906" cy="64633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</a:rPr>
              <a:t>Длительные сроки создания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</a:rPr>
              <a:t> новой функциональности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baseline="0" dirty="0" smtClean="0">
                <a:solidFill>
                  <a:srgbClr val="002F6C"/>
                </a:solidFill>
                <a:latin typeface="Arial"/>
              </a:rPr>
              <a:t>Разработка</a:t>
            </a:r>
            <a:r>
              <a:rPr lang="ru-RU" sz="1400" dirty="0" smtClean="0">
                <a:solidFill>
                  <a:srgbClr val="002F6C"/>
                </a:solidFill>
                <a:latin typeface="Arial"/>
              </a:rPr>
              <a:t> с нуля направлений Управление рисками и происшествиями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934463" y="4004907"/>
            <a:ext cx="579272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</a:rPr>
              <a:t>Не представлены в России, </a:t>
            </a:r>
            <a:endParaRPr lang="ru-RU" sz="1400" dirty="0" smtClean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</a:rPr>
              <a:t>Не </a:t>
            </a:r>
            <a:r>
              <a:rPr lang="ru-RU" sz="1400" dirty="0">
                <a:solidFill>
                  <a:srgbClr val="002060"/>
                </a:solidFill>
              </a:rPr>
              <a:t>имеют компаний-партнеров в </a:t>
            </a:r>
            <a:r>
              <a:rPr lang="ru-RU" sz="1400" dirty="0" smtClean="0">
                <a:solidFill>
                  <a:srgbClr val="002060"/>
                </a:solidFill>
              </a:rPr>
              <a:t>России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</a:rPr>
              <a:t>Не </a:t>
            </a:r>
            <a:r>
              <a:rPr lang="ru-RU" sz="1400" dirty="0">
                <a:solidFill>
                  <a:srgbClr val="002060"/>
                </a:solidFill>
              </a:rPr>
              <a:t>поддерживают или слабо поддерживают русский язык;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934463" y="5128918"/>
            <a:ext cx="579272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</a:rPr>
              <a:t>Функционал требует больших переработок в части основного фокуса проекта (управление рисками), </a:t>
            </a:r>
            <a:endParaRPr lang="ru-RU" sz="1400" dirty="0" smtClean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</a:rPr>
              <a:t>Н</a:t>
            </a:r>
            <a:r>
              <a:rPr lang="ru-RU" sz="1400" dirty="0" smtClean="0">
                <a:solidFill>
                  <a:srgbClr val="002060"/>
                </a:solidFill>
              </a:rPr>
              <a:t>е </a:t>
            </a:r>
            <a:r>
              <a:rPr lang="ru-RU" sz="1400" dirty="0">
                <a:solidFill>
                  <a:srgbClr val="002060"/>
                </a:solidFill>
              </a:rPr>
              <a:t>интегрируется </a:t>
            </a:r>
            <a:r>
              <a:rPr lang="ru-RU" sz="1400" dirty="0" err="1">
                <a:solidFill>
                  <a:srgbClr val="002060"/>
                </a:solidFill>
              </a:rPr>
              <a:t>нативно</a:t>
            </a:r>
            <a:r>
              <a:rPr lang="ru-RU" sz="1400" dirty="0">
                <a:solidFill>
                  <a:srgbClr val="002060"/>
                </a:solidFill>
              </a:rPr>
              <a:t> с SAP, требует отдельной доработки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728550" y="4672268"/>
            <a:ext cx="32120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err="1"/>
              <a:t>Cority</a:t>
            </a:r>
            <a:r>
              <a:rPr lang="ru-RU" sz="1200" dirty="0"/>
              <a:t>, </a:t>
            </a:r>
            <a:r>
              <a:rPr lang="ru-RU" sz="1200" dirty="0" err="1"/>
              <a:t>VelocityEHS</a:t>
            </a:r>
            <a:r>
              <a:rPr lang="ru-RU" sz="1200" dirty="0"/>
              <a:t>, </a:t>
            </a:r>
            <a:r>
              <a:rPr lang="ru-RU" sz="1200" dirty="0" err="1"/>
              <a:t>Enablon</a:t>
            </a:r>
            <a:r>
              <a:rPr lang="ru-RU" sz="1200" dirty="0"/>
              <a:t>, </a:t>
            </a:r>
            <a:r>
              <a:rPr lang="ru-RU" sz="1200" dirty="0" err="1"/>
              <a:t>Sphera</a:t>
            </a:r>
            <a:r>
              <a:rPr lang="ru-RU" sz="1200" dirty="0"/>
              <a:t>, </a:t>
            </a:r>
            <a:r>
              <a:rPr lang="ru-RU" sz="1200" dirty="0" err="1"/>
              <a:t>Emex</a:t>
            </a:r>
            <a:endParaRPr lang="ru-RU" sz="12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728550" y="5803421"/>
            <a:ext cx="17234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err="1"/>
              <a:t>Визитек</a:t>
            </a:r>
            <a:r>
              <a:rPr lang="ru-RU" sz="1200" dirty="0"/>
              <a:t>, 1С, </a:t>
            </a:r>
            <a:r>
              <a:rPr lang="ru-RU" sz="1200" dirty="0" err="1"/>
              <a:t>Бреалит</a:t>
            </a:r>
            <a:endParaRPr lang="ru-RU" sz="1200" dirty="0"/>
          </a:p>
        </p:txBody>
      </p:sp>
      <p:sp>
        <p:nvSpPr>
          <p:cNvPr id="86" name="Прямоугольник 25">
            <a:extLst>
              <a:ext uri="{FF2B5EF4-FFF2-40B4-BE49-F238E27FC236}">
                <a16:creationId xmlns:a16="http://schemas.microsoft.com/office/drawing/2014/main" id="{A0EC879B-3C34-1B42-B824-370D90548C5F}"/>
              </a:ext>
            </a:extLst>
          </p:cNvPr>
          <p:cNvSpPr/>
          <p:nvPr/>
        </p:nvSpPr>
        <p:spPr>
          <a:xfrm>
            <a:off x="2265225" y="1706048"/>
            <a:ext cx="8724200" cy="307777"/>
          </a:xfrm>
          <a:prstGeom prst="rect">
            <a:avLst/>
          </a:prstGeom>
          <a:noFill/>
        </p:spPr>
        <p:txBody>
          <a:bodyPr wrap="square" lIns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69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Улучшение</a:t>
            </a:r>
            <a:r>
              <a:rPr kumimoji="0" lang="ru-RU" sz="140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качества управляемости существующими процессами, </a:t>
            </a:r>
            <a:r>
              <a:rPr kumimoji="0" lang="ru-RU" sz="1400" i="0" u="none" strike="noStrike" kern="1200" cap="none" spc="0" normalizeH="0" noProof="0" dirty="0" err="1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цифровизация</a:t>
            </a:r>
            <a:r>
              <a:rPr kumimoji="0" lang="ru-RU" sz="140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новых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065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C11165E-C8E5-4D77-B20F-1F47E3F7BD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638AD141-326C-49A1-AA2D-377AF6E3D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99123"/>
            <a:ext cx="10379284" cy="297962"/>
          </a:xfrm>
        </p:spPr>
        <p:txBody>
          <a:bodyPr/>
          <a:lstStyle/>
          <a:p>
            <a:r>
              <a:rPr lang="ru-RU" dirty="0" smtClean="0"/>
              <a:t>Выгоды </a:t>
            </a:r>
            <a:r>
              <a:rPr lang="ru-RU" dirty="0"/>
              <a:t>и результаты от реализации решения </a:t>
            </a:r>
            <a:r>
              <a:rPr lang="ru-RU" dirty="0" smtClean="0"/>
              <a:t>ПК КОТ 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523492" y="6309320"/>
            <a:ext cx="6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85428" y="879734"/>
            <a:ext cx="106715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Обеспечение прозрачности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связанности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данных в едином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информационном пространств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, уход от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разрозненной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/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локальной автоматизации на разных платформах с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большим количеством точек отказа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поддержка эффективной системы управления в области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ОТиПБ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/>
          </p:nvPr>
        </p:nvGraphicFramePr>
        <p:xfrm>
          <a:off x="885428" y="1556914"/>
          <a:ext cx="5023395" cy="4743170"/>
        </p:xfrm>
        <a:graphic>
          <a:graphicData uri="http://schemas.openxmlformats.org/drawingml/2006/table">
            <a:tbl>
              <a:tblPr firstRow="1" bandRow="1">
                <a:effectLst>
                  <a:outerShdw blurRad="127000" dist="127000" dir="2700000" algn="tl" rotWithShape="0">
                    <a:prstClr val="black">
                      <a:alpha val="5000"/>
                    </a:prstClr>
                  </a:outerShdw>
                </a:effectLst>
                <a:tableStyleId>{5C22544A-7EE6-4342-B048-85BDC9FD1C3A}</a:tableStyleId>
              </a:tblPr>
              <a:tblGrid>
                <a:gridCol w="5023395">
                  <a:extLst>
                    <a:ext uri="{9D8B030D-6E8A-4147-A177-3AD203B41FA5}">
                      <a16:colId xmlns:a16="http://schemas.microsoft.com/office/drawing/2014/main" val="4135263606"/>
                    </a:ext>
                  </a:extLst>
                </a:gridCol>
              </a:tblGrid>
              <a:tr h="286690"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ea typeface="+mn-ea"/>
                          <a:cs typeface="+mn-cs"/>
                        </a:rPr>
                        <a:t>Выгоды от внедрения</a:t>
                      </a:r>
                      <a:endParaRPr kumimoji="0" lang="ru-RU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endParaRPr>
                    </a:p>
                  </a:txBody>
                  <a:tcPr marL="360000" marR="71779" marT="35890" marB="35890" anchor="ctr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282469"/>
                  </a:ext>
                </a:extLst>
              </a:tr>
              <a:tr h="4134971">
                <a:tc>
                  <a:txBody>
                    <a:bodyPr/>
                    <a:lstStyle/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+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Снижение трудозатрат сотрудников Северсталь при работе с информацией ОТ и ПБ по автоматизируемым процессам в различных ее направлениях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+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Быстрый ввод данных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+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Прозрачное использование данных интегрированных систем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+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Исключение повторного ввода информации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+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Автоматическая генерация отчетов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+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Быстрый многофакторный поиск нужной информации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+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Оперативное информирование ответственных сотрудников о событиях ОТ и ПБ и их задачах в этой области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+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Обеспечение высокого качества оперативной, нормативной и справочной информации, недостижимое в ее неструктурированном виде, что существенно снижает вероятность ошибок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+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Исключение документооборота по автоматизируемым процессам, кроме юридически значимого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+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Обеспечение автоматизированного и централизованного контроля за своевременностью и качеством выполнения назначенных пользователям системы задач и мероприятий.</a:t>
                      </a:r>
                    </a:p>
                  </a:txBody>
                  <a:tcPr marL="71779" marR="71779" marT="35890" marB="35890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1881892"/>
                  </a:ext>
                </a:extLst>
              </a:tr>
              <a:tr h="219025">
                <a:tc>
                  <a:txBody>
                    <a:bodyPr/>
                    <a:lstStyle/>
                    <a:p>
                      <a:endParaRPr kumimoji="0" lang="ru-RU" sz="1000" b="1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779" marR="71779" marT="35890" marB="35890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830925"/>
                  </a:ext>
                </a:extLst>
              </a:tr>
            </a:tbl>
          </a:graphicData>
        </a:graphic>
      </p:graphicFrame>
      <p:graphicFrame>
        <p:nvGraphicFramePr>
          <p:cNvPr id="14" name="Таблица 13"/>
          <p:cNvGraphicFramePr>
            <a:graphicFrameLocks noGrp="1"/>
          </p:cNvGraphicFramePr>
          <p:nvPr>
            <p:extLst/>
          </p:nvPr>
        </p:nvGraphicFramePr>
        <p:xfrm>
          <a:off x="6281356" y="1561798"/>
          <a:ext cx="5035364" cy="3942036"/>
        </p:xfrm>
        <a:graphic>
          <a:graphicData uri="http://schemas.openxmlformats.org/drawingml/2006/table">
            <a:tbl>
              <a:tblPr firstRow="1" bandRow="1">
                <a:effectLst>
                  <a:outerShdw blurRad="127000" dist="127000" dir="2700000" algn="tl" rotWithShape="0">
                    <a:prstClr val="black">
                      <a:alpha val="5000"/>
                    </a:prstClr>
                  </a:outerShdw>
                </a:effectLst>
                <a:tableStyleId>{5C22544A-7EE6-4342-B048-85BDC9FD1C3A}</a:tableStyleId>
              </a:tblPr>
              <a:tblGrid>
                <a:gridCol w="5035364">
                  <a:extLst>
                    <a:ext uri="{9D8B030D-6E8A-4147-A177-3AD203B41FA5}">
                      <a16:colId xmlns:a16="http://schemas.microsoft.com/office/drawing/2014/main" val="4135263606"/>
                    </a:ext>
                  </a:extLst>
                </a:gridCol>
              </a:tblGrid>
              <a:tr h="234478"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ea typeface="+mn-ea"/>
                          <a:cs typeface="+mn-cs"/>
                        </a:rPr>
                        <a:t>Результаты от внедрения</a:t>
                      </a:r>
                      <a:endParaRPr kumimoji="0" lang="ru-RU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endParaRPr>
                    </a:p>
                  </a:txBody>
                  <a:tcPr marL="360000" marR="71779" marT="35890" marB="35890" anchor="ctr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282469"/>
                  </a:ext>
                </a:extLst>
              </a:tr>
              <a:tr h="3432716">
                <a:tc>
                  <a:txBody>
                    <a:bodyPr/>
                    <a:lstStyle/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Повышение эффективности и контроля за ОТ и ПБ в Северсталь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Развитие корпоративной культуры и информированности в области безопасности и охраны труда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Достижение ключевых показателей в области ОТ и ПБ и снижение рисков возникновения «горячих точек»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Возможность применения риск-ориентированного подхода по всем направлениям </a:t>
                      </a:r>
                      <a:r>
                        <a:rPr lang="ru-RU" sz="1200" dirty="0" err="1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ОТиПБ</a:t>
                      </a: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;</a:t>
                      </a:r>
                    </a:p>
                    <a:p>
                      <a:pPr marL="171450" lvl="0" indent="-171450" algn="l" defTabSz="844083">
                        <a:spcAft>
                          <a:spcPts val="600"/>
                        </a:spcAft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Оптимизация и поддержка принятия своевременных решений за счет гибкой аналитики в области охраны труда.</a:t>
                      </a:r>
                    </a:p>
                  </a:txBody>
                  <a:tcPr marL="71779" marR="71779" marT="35890" marB="35890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1881892"/>
                  </a:ext>
                </a:extLst>
              </a:tr>
              <a:tr h="199219">
                <a:tc>
                  <a:txBody>
                    <a:bodyPr/>
                    <a:lstStyle/>
                    <a:p>
                      <a:endParaRPr kumimoji="0" lang="ru-RU" sz="1000" b="1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779" marR="71779" marT="35890" marB="35890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830925"/>
                  </a:ext>
                </a:extLst>
              </a:tr>
            </a:tbl>
          </a:graphicData>
        </a:graphic>
      </p:graphicFrame>
      <p:grpSp>
        <p:nvGrpSpPr>
          <p:cNvPr id="15" name="Graphic 150">
            <a:extLst>
              <a:ext uri="{FF2B5EF4-FFF2-40B4-BE49-F238E27FC236}">
                <a16:creationId xmlns:a16="http://schemas.microsoft.com/office/drawing/2014/main" id="{8661BCE9-5CFE-4309-9199-7A65D9645EAE}"/>
              </a:ext>
            </a:extLst>
          </p:cNvPr>
          <p:cNvGrpSpPr/>
          <p:nvPr/>
        </p:nvGrpSpPr>
        <p:grpSpPr>
          <a:xfrm>
            <a:off x="347453" y="864011"/>
            <a:ext cx="537975" cy="493110"/>
            <a:chOff x="4832404" y="1086681"/>
            <a:chExt cx="763200" cy="763200"/>
          </a:xfrm>
          <a:solidFill>
            <a:srgbClr val="FF0000"/>
          </a:solidFill>
        </p:grpSpPr>
        <p:sp>
          <p:nvSpPr>
            <p:cNvPr id="16" name="Полилиния: фигура 45">
              <a:extLst>
                <a:ext uri="{FF2B5EF4-FFF2-40B4-BE49-F238E27FC236}">
                  <a16:creationId xmlns:a16="http://schemas.microsoft.com/office/drawing/2014/main" id="{2BFF1091-B0CE-4A10-AEE0-D4DE294FD523}"/>
                </a:ext>
              </a:extLst>
            </p:cNvPr>
            <p:cNvSpPr/>
            <p:nvPr/>
          </p:nvSpPr>
          <p:spPr>
            <a:xfrm>
              <a:off x="4904313" y="1158590"/>
              <a:ext cx="619455" cy="619393"/>
            </a:xfrm>
            <a:custGeom>
              <a:avLst/>
              <a:gdLst>
                <a:gd name="connsiteX0" fmla="*/ 550792 w 619455"/>
                <a:gd name="connsiteY0" fmla="*/ 309690 h 619393"/>
                <a:gd name="connsiteX1" fmla="*/ 599793 w 619455"/>
                <a:gd name="connsiteY1" fmla="*/ 212677 h 619393"/>
                <a:gd name="connsiteX2" fmla="*/ 588033 w 619455"/>
                <a:gd name="connsiteY2" fmla="*/ 31348 h 619393"/>
                <a:gd name="connsiteX3" fmla="*/ 406703 w 619455"/>
                <a:gd name="connsiteY3" fmla="*/ 19535 h 619393"/>
                <a:gd name="connsiteX4" fmla="*/ 309690 w 619455"/>
                <a:gd name="connsiteY4" fmla="*/ 68588 h 619393"/>
                <a:gd name="connsiteX5" fmla="*/ 212677 w 619455"/>
                <a:gd name="connsiteY5" fmla="*/ 19587 h 619393"/>
                <a:gd name="connsiteX6" fmla="*/ 31348 w 619455"/>
                <a:gd name="connsiteY6" fmla="*/ 31348 h 619393"/>
                <a:gd name="connsiteX7" fmla="*/ 19535 w 619455"/>
                <a:gd name="connsiteY7" fmla="*/ 212677 h 619393"/>
                <a:gd name="connsiteX8" fmla="*/ 68588 w 619455"/>
                <a:gd name="connsiteY8" fmla="*/ 309690 h 619393"/>
                <a:gd name="connsiteX9" fmla="*/ 19587 w 619455"/>
                <a:gd name="connsiteY9" fmla="*/ 406703 h 619393"/>
                <a:gd name="connsiteX10" fmla="*/ 31348 w 619455"/>
                <a:gd name="connsiteY10" fmla="*/ 588033 h 619393"/>
                <a:gd name="connsiteX11" fmla="*/ 117346 w 619455"/>
                <a:gd name="connsiteY11" fmla="*/ 619393 h 619393"/>
                <a:gd name="connsiteX12" fmla="*/ 212746 w 619455"/>
                <a:gd name="connsiteY12" fmla="*/ 599845 h 619393"/>
                <a:gd name="connsiteX13" fmla="*/ 309690 w 619455"/>
                <a:gd name="connsiteY13" fmla="*/ 550792 h 619393"/>
                <a:gd name="connsiteX14" fmla="*/ 406703 w 619455"/>
                <a:gd name="connsiteY14" fmla="*/ 599793 h 619393"/>
                <a:gd name="connsiteX15" fmla="*/ 502103 w 619455"/>
                <a:gd name="connsiteY15" fmla="*/ 619341 h 619393"/>
                <a:gd name="connsiteX16" fmla="*/ 588102 w 619455"/>
                <a:gd name="connsiteY16" fmla="*/ 587981 h 619393"/>
                <a:gd name="connsiteX17" fmla="*/ 599914 w 619455"/>
                <a:gd name="connsiteY17" fmla="*/ 406651 h 619393"/>
                <a:gd name="connsiteX18" fmla="*/ 550792 w 619455"/>
                <a:gd name="connsiteY18" fmla="*/ 309690 h 619393"/>
                <a:gd name="connsiteX19" fmla="*/ 417666 w 619455"/>
                <a:gd name="connsiteY19" fmla="*/ 49005 h 619393"/>
                <a:gd name="connsiteX20" fmla="*/ 501739 w 619455"/>
                <a:gd name="connsiteY20" fmla="*/ 31660 h 619393"/>
                <a:gd name="connsiteX21" fmla="*/ 565796 w 619455"/>
                <a:gd name="connsiteY21" fmla="*/ 53654 h 619393"/>
                <a:gd name="connsiteX22" fmla="*/ 570375 w 619455"/>
                <a:gd name="connsiteY22" fmla="*/ 201784 h 619393"/>
                <a:gd name="connsiteX23" fmla="*/ 531712 w 619455"/>
                <a:gd name="connsiteY23" fmla="*/ 280949 h 619393"/>
                <a:gd name="connsiteX24" fmla="*/ 443077 w 619455"/>
                <a:gd name="connsiteY24" fmla="*/ 176304 h 619393"/>
                <a:gd name="connsiteX25" fmla="*/ 338431 w 619455"/>
                <a:gd name="connsiteY25" fmla="*/ 87842 h 619393"/>
                <a:gd name="connsiteX26" fmla="*/ 417666 w 619455"/>
                <a:gd name="connsiteY26" fmla="*/ 49005 h 619393"/>
                <a:gd name="connsiteX27" fmla="*/ 513308 w 619455"/>
                <a:gd name="connsiteY27" fmla="*/ 309690 h 619393"/>
                <a:gd name="connsiteX28" fmla="*/ 309690 w 619455"/>
                <a:gd name="connsiteY28" fmla="*/ 513308 h 619393"/>
                <a:gd name="connsiteX29" fmla="*/ 106072 w 619455"/>
                <a:gd name="connsiteY29" fmla="*/ 309690 h 619393"/>
                <a:gd name="connsiteX30" fmla="*/ 309690 w 619455"/>
                <a:gd name="connsiteY30" fmla="*/ 106072 h 619393"/>
                <a:gd name="connsiteX31" fmla="*/ 513308 w 619455"/>
                <a:gd name="connsiteY31" fmla="*/ 309690 h 619393"/>
                <a:gd name="connsiteX32" fmla="*/ 49005 w 619455"/>
                <a:gd name="connsiteY32" fmla="*/ 201715 h 619393"/>
                <a:gd name="connsiteX33" fmla="*/ 53584 w 619455"/>
                <a:gd name="connsiteY33" fmla="*/ 53584 h 619393"/>
                <a:gd name="connsiteX34" fmla="*/ 117641 w 619455"/>
                <a:gd name="connsiteY34" fmla="*/ 31590 h 619393"/>
                <a:gd name="connsiteX35" fmla="*/ 201715 w 619455"/>
                <a:gd name="connsiteY35" fmla="*/ 48936 h 619393"/>
                <a:gd name="connsiteX36" fmla="*/ 280949 w 619455"/>
                <a:gd name="connsiteY36" fmla="*/ 87686 h 619393"/>
                <a:gd name="connsiteX37" fmla="*/ 87755 w 619455"/>
                <a:gd name="connsiteY37" fmla="*/ 280949 h 619393"/>
                <a:gd name="connsiteX38" fmla="*/ 49005 w 619455"/>
                <a:gd name="connsiteY38" fmla="*/ 201715 h 619393"/>
                <a:gd name="connsiteX39" fmla="*/ 201645 w 619455"/>
                <a:gd name="connsiteY39" fmla="*/ 570375 h 619393"/>
                <a:gd name="connsiteX40" fmla="*/ 53515 w 619455"/>
                <a:gd name="connsiteY40" fmla="*/ 565796 h 619393"/>
                <a:gd name="connsiteX41" fmla="*/ 48936 w 619455"/>
                <a:gd name="connsiteY41" fmla="*/ 417666 h 619393"/>
                <a:gd name="connsiteX42" fmla="*/ 87686 w 619455"/>
                <a:gd name="connsiteY42" fmla="*/ 338431 h 619393"/>
                <a:gd name="connsiteX43" fmla="*/ 176304 w 619455"/>
                <a:gd name="connsiteY43" fmla="*/ 443077 h 619393"/>
                <a:gd name="connsiteX44" fmla="*/ 280949 w 619455"/>
                <a:gd name="connsiteY44" fmla="*/ 531712 h 619393"/>
                <a:gd name="connsiteX45" fmla="*/ 201715 w 619455"/>
                <a:gd name="connsiteY45" fmla="*/ 570375 h 619393"/>
                <a:gd name="connsiteX46" fmla="*/ 565726 w 619455"/>
                <a:gd name="connsiteY46" fmla="*/ 565796 h 619393"/>
                <a:gd name="connsiteX47" fmla="*/ 417596 w 619455"/>
                <a:gd name="connsiteY47" fmla="*/ 570375 h 619393"/>
                <a:gd name="connsiteX48" fmla="*/ 338431 w 619455"/>
                <a:gd name="connsiteY48" fmla="*/ 531712 h 619393"/>
                <a:gd name="connsiteX49" fmla="*/ 443077 w 619455"/>
                <a:gd name="connsiteY49" fmla="*/ 443077 h 619393"/>
                <a:gd name="connsiteX50" fmla="*/ 531712 w 619455"/>
                <a:gd name="connsiteY50" fmla="*/ 338431 h 619393"/>
                <a:gd name="connsiteX51" fmla="*/ 570462 w 619455"/>
                <a:gd name="connsiteY51" fmla="*/ 417666 h 619393"/>
                <a:gd name="connsiteX52" fmla="*/ 565796 w 619455"/>
                <a:gd name="connsiteY52" fmla="*/ 565796 h 619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619455" h="619393">
                  <a:moveTo>
                    <a:pt x="550792" y="309690"/>
                  </a:moveTo>
                  <a:cubicBezTo>
                    <a:pt x="570404" y="279115"/>
                    <a:pt x="586824" y="246606"/>
                    <a:pt x="599793" y="212677"/>
                  </a:cubicBezTo>
                  <a:cubicBezTo>
                    <a:pt x="629488" y="133009"/>
                    <a:pt x="625377" y="68588"/>
                    <a:pt x="588033" y="31348"/>
                  </a:cubicBezTo>
                  <a:cubicBezTo>
                    <a:pt x="550688" y="-5893"/>
                    <a:pt x="486371" y="-10108"/>
                    <a:pt x="406703" y="19535"/>
                  </a:cubicBezTo>
                  <a:cubicBezTo>
                    <a:pt x="372770" y="32520"/>
                    <a:pt x="340263" y="48958"/>
                    <a:pt x="309690" y="68588"/>
                  </a:cubicBezTo>
                  <a:cubicBezTo>
                    <a:pt x="279115" y="48976"/>
                    <a:pt x="246606" y="32556"/>
                    <a:pt x="212677" y="19587"/>
                  </a:cubicBezTo>
                  <a:cubicBezTo>
                    <a:pt x="133009" y="-10108"/>
                    <a:pt x="68588" y="-5911"/>
                    <a:pt x="31348" y="31348"/>
                  </a:cubicBezTo>
                  <a:cubicBezTo>
                    <a:pt x="-5893" y="68606"/>
                    <a:pt x="-10108" y="133009"/>
                    <a:pt x="19535" y="212677"/>
                  </a:cubicBezTo>
                  <a:cubicBezTo>
                    <a:pt x="32520" y="246610"/>
                    <a:pt x="48958" y="279117"/>
                    <a:pt x="68588" y="309690"/>
                  </a:cubicBezTo>
                  <a:cubicBezTo>
                    <a:pt x="48976" y="340265"/>
                    <a:pt x="32556" y="372774"/>
                    <a:pt x="19587" y="406703"/>
                  </a:cubicBezTo>
                  <a:cubicBezTo>
                    <a:pt x="-10108" y="486371"/>
                    <a:pt x="-5911" y="550792"/>
                    <a:pt x="31348" y="588033"/>
                  </a:cubicBezTo>
                  <a:cubicBezTo>
                    <a:pt x="52162" y="608847"/>
                    <a:pt x="81649" y="619393"/>
                    <a:pt x="117346" y="619393"/>
                  </a:cubicBezTo>
                  <a:cubicBezTo>
                    <a:pt x="145498" y="619393"/>
                    <a:pt x="177604" y="612889"/>
                    <a:pt x="212746" y="599845"/>
                  </a:cubicBezTo>
                  <a:cubicBezTo>
                    <a:pt x="246655" y="586855"/>
                    <a:pt x="279139" y="570418"/>
                    <a:pt x="309690" y="550792"/>
                  </a:cubicBezTo>
                  <a:cubicBezTo>
                    <a:pt x="340265" y="570404"/>
                    <a:pt x="372774" y="586824"/>
                    <a:pt x="406703" y="599793"/>
                  </a:cubicBezTo>
                  <a:cubicBezTo>
                    <a:pt x="441776" y="612837"/>
                    <a:pt x="473882" y="619341"/>
                    <a:pt x="502103" y="619341"/>
                  </a:cubicBezTo>
                  <a:cubicBezTo>
                    <a:pt x="537887" y="619341"/>
                    <a:pt x="567235" y="608830"/>
                    <a:pt x="588102" y="587981"/>
                  </a:cubicBezTo>
                  <a:cubicBezTo>
                    <a:pt x="625360" y="550722"/>
                    <a:pt x="629558" y="486319"/>
                    <a:pt x="599914" y="406651"/>
                  </a:cubicBezTo>
                  <a:cubicBezTo>
                    <a:pt x="586903" y="372734"/>
                    <a:pt x="570443" y="340242"/>
                    <a:pt x="550792" y="309690"/>
                  </a:cubicBezTo>
                  <a:close/>
                  <a:moveTo>
                    <a:pt x="417666" y="49005"/>
                  </a:moveTo>
                  <a:cubicBezTo>
                    <a:pt x="448887" y="37384"/>
                    <a:pt x="477438" y="31660"/>
                    <a:pt x="501739" y="31660"/>
                  </a:cubicBezTo>
                  <a:cubicBezTo>
                    <a:pt x="529093" y="31660"/>
                    <a:pt x="551139" y="39014"/>
                    <a:pt x="565796" y="53654"/>
                  </a:cubicBezTo>
                  <a:cubicBezTo>
                    <a:pt x="593444" y="81302"/>
                    <a:pt x="595109" y="135299"/>
                    <a:pt x="570375" y="201784"/>
                  </a:cubicBezTo>
                  <a:cubicBezTo>
                    <a:pt x="559912" y="229289"/>
                    <a:pt x="546972" y="255787"/>
                    <a:pt x="531712" y="280949"/>
                  </a:cubicBezTo>
                  <a:cubicBezTo>
                    <a:pt x="505198" y="243609"/>
                    <a:pt x="475546" y="208599"/>
                    <a:pt x="443077" y="176304"/>
                  </a:cubicBezTo>
                  <a:cubicBezTo>
                    <a:pt x="410774" y="143895"/>
                    <a:pt x="375764" y="114300"/>
                    <a:pt x="338431" y="87842"/>
                  </a:cubicBezTo>
                  <a:cubicBezTo>
                    <a:pt x="363610" y="72518"/>
                    <a:pt x="390130" y="59519"/>
                    <a:pt x="417666" y="49005"/>
                  </a:cubicBezTo>
                  <a:close/>
                  <a:moveTo>
                    <a:pt x="513308" y="309690"/>
                  </a:moveTo>
                  <a:cubicBezTo>
                    <a:pt x="460960" y="387137"/>
                    <a:pt x="387137" y="460960"/>
                    <a:pt x="309690" y="513308"/>
                  </a:cubicBezTo>
                  <a:cubicBezTo>
                    <a:pt x="232243" y="460960"/>
                    <a:pt x="158420" y="387137"/>
                    <a:pt x="106072" y="309690"/>
                  </a:cubicBezTo>
                  <a:cubicBezTo>
                    <a:pt x="158420" y="232243"/>
                    <a:pt x="232243" y="158420"/>
                    <a:pt x="309690" y="106072"/>
                  </a:cubicBezTo>
                  <a:cubicBezTo>
                    <a:pt x="387137" y="158420"/>
                    <a:pt x="460960" y="232243"/>
                    <a:pt x="513308" y="309690"/>
                  </a:cubicBezTo>
                  <a:close/>
                  <a:moveTo>
                    <a:pt x="49005" y="201715"/>
                  </a:moveTo>
                  <a:cubicBezTo>
                    <a:pt x="24271" y="135229"/>
                    <a:pt x="25936" y="81233"/>
                    <a:pt x="53584" y="53584"/>
                  </a:cubicBezTo>
                  <a:cubicBezTo>
                    <a:pt x="68241" y="38945"/>
                    <a:pt x="90270" y="31590"/>
                    <a:pt x="117641" y="31590"/>
                  </a:cubicBezTo>
                  <a:cubicBezTo>
                    <a:pt x="141925" y="31590"/>
                    <a:pt x="170441" y="37384"/>
                    <a:pt x="201715" y="48936"/>
                  </a:cubicBezTo>
                  <a:cubicBezTo>
                    <a:pt x="229247" y="59422"/>
                    <a:pt x="255768" y="72392"/>
                    <a:pt x="280949" y="87686"/>
                  </a:cubicBezTo>
                  <a:cubicBezTo>
                    <a:pt x="206261" y="140926"/>
                    <a:pt x="140969" y="206242"/>
                    <a:pt x="87755" y="280949"/>
                  </a:cubicBezTo>
                  <a:cubicBezTo>
                    <a:pt x="72461" y="255768"/>
                    <a:pt x="59491" y="229247"/>
                    <a:pt x="49005" y="201715"/>
                  </a:cubicBezTo>
                  <a:close/>
                  <a:moveTo>
                    <a:pt x="201645" y="570375"/>
                  </a:moveTo>
                  <a:cubicBezTo>
                    <a:pt x="135160" y="595109"/>
                    <a:pt x="81164" y="593444"/>
                    <a:pt x="53515" y="565796"/>
                  </a:cubicBezTo>
                  <a:cubicBezTo>
                    <a:pt x="25866" y="538147"/>
                    <a:pt x="24201" y="484151"/>
                    <a:pt x="48936" y="417666"/>
                  </a:cubicBezTo>
                  <a:cubicBezTo>
                    <a:pt x="59422" y="390133"/>
                    <a:pt x="72392" y="363612"/>
                    <a:pt x="87686" y="338431"/>
                  </a:cubicBezTo>
                  <a:cubicBezTo>
                    <a:pt x="114193" y="375771"/>
                    <a:pt x="143840" y="410779"/>
                    <a:pt x="176304" y="443077"/>
                  </a:cubicBezTo>
                  <a:cubicBezTo>
                    <a:pt x="208599" y="475546"/>
                    <a:pt x="243609" y="505198"/>
                    <a:pt x="280949" y="531712"/>
                  </a:cubicBezTo>
                  <a:cubicBezTo>
                    <a:pt x="255765" y="546976"/>
                    <a:pt x="229244" y="559917"/>
                    <a:pt x="201715" y="570375"/>
                  </a:cubicBezTo>
                  <a:close/>
                  <a:moveTo>
                    <a:pt x="565726" y="565796"/>
                  </a:moveTo>
                  <a:cubicBezTo>
                    <a:pt x="538078" y="593444"/>
                    <a:pt x="484081" y="595109"/>
                    <a:pt x="417596" y="570375"/>
                  </a:cubicBezTo>
                  <a:cubicBezTo>
                    <a:pt x="390091" y="559912"/>
                    <a:pt x="363593" y="546972"/>
                    <a:pt x="338431" y="531712"/>
                  </a:cubicBezTo>
                  <a:cubicBezTo>
                    <a:pt x="375771" y="505198"/>
                    <a:pt x="410781" y="475546"/>
                    <a:pt x="443077" y="443077"/>
                  </a:cubicBezTo>
                  <a:cubicBezTo>
                    <a:pt x="475546" y="410781"/>
                    <a:pt x="505198" y="375771"/>
                    <a:pt x="531712" y="338431"/>
                  </a:cubicBezTo>
                  <a:cubicBezTo>
                    <a:pt x="547005" y="363612"/>
                    <a:pt x="559976" y="390133"/>
                    <a:pt x="570462" y="417666"/>
                  </a:cubicBezTo>
                  <a:cubicBezTo>
                    <a:pt x="595109" y="484151"/>
                    <a:pt x="593444" y="538147"/>
                    <a:pt x="565796" y="565796"/>
                  </a:cubicBezTo>
                  <a:close/>
                </a:path>
              </a:pathLst>
            </a:custGeom>
            <a:grpFill/>
            <a:ln w="1732" cap="flat">
              <a:solidFill>
                <a:srgbClr val="FF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46">
              <a:extLst>
                <a:ext uri="{FF2B5EF4-FFF2-40B4-BE49-F238E27FC236}">
                  <a16:creationId xmlns:a16="http://schemas.microsoft.com/office/drawing/2014/main" id="{F76786C7-EC1E-4CDD-8BFD-46986D82DC4D}"/>
                </a:ext>
              </a:extLst>
            </p:cNvPr>
            <p:cNvSpPr/>
            <p:nvPr/>
          </p:nvSpPr>
          <p:spPr>
            <a:xfrm>
              <a:off x="5088249" y="1342526"/>
              <a:ext cx="251509" cy="251509"/>
            </a:xfrm>
            <a:custGeom>
              <a:avLst/>
              <a:gdLst>
                <a:gd name="connsiteX0" fmla="*/ 251509 w 251509"/>
                <a:gd name="connsiteY0" fmla="*/ 78627 h 251509"/>
                <a:gd name="connsiteX1" fmla="*/ 251509 w 251509"/>
                <a:gd name="connsiteY1" fmla="*/ 47180 h 251509"/>
                <a:gd name="connsiteX2" fmla="*/ 220079 w 251509"/>
                <a:gd name="connsiteY2" fmla="*/ 47180 h 251509"/>
                <a:gd name="connsiteX3" fmla="*/ 220079 w 251509"/>
                <a:gd name="connsiteY3" fmla="*/ 31430 h 251509"/>
                <a:gd name="connsiteX4" fmla="*/ 204329 w 251509"/>
                <a:gd name="connsiteY4" fmla="*/ 31430 h 251509"/>
                <a:gd name="connsiteX5" fmla="*/ 204329 w 251509"/>
                <a:gd name="connsiteY5" fmla="*/ 0 h 251509"/>
                <a:gd name="connsiteX6" fmla="*/ 172882 w 251509"/>
                <a:gd name="connsiteY6" fmla="*/ 0 h 251509"/>
                <a:gd name="connsiteX7" fmla="*/ 172882 w 251509"/>
                <a:gd name="connsiteY7" fmla="*/ 31430 h 251509"/>
                <a:gd name="connsiteX8" fmla="*/ 141365 w 251509"/>
                <a:gd name="connsiteY8" fmla="*/ 31430 h 251509"/>
                <a:gd name="connsiteX9" fmla="*/ 141365 w 251509"/>
                <a:gd name="connsiteY9" fmla="*/ 0 h 251509"/>
                <a:gd name="connsiteX10" fmla="*/ 109918 w 251509"/>
                <a:gd name="connsiteY10" fmla="*/ 0 h 251509"/>
                <a:gd name="connsiteX11" fmla="*/ 109918 w 251509"/>
                <a:gd name="connsiteY11" fmla="*/ 31430 h 251509"/>
                <a:gd name="connsiteX12" fmla="*/ 78644 w 251509"/>
                <a:gd name="connsiteY12" fmla="*/ 31430 h 251509"/>
                <a:gd name="connsiteX13" fmla="*/ 78644 w 251509"/>
                <a:gd name="connsiteY13" fmla="*/ 0 h 251509"/>
                <a:gd name="connsiteX14" fmla="*/ 47180 w 251509"/>
                <a:gd name="connsiteY14" fmla="*/ 0 h 251509"/>
                <a:gd name="connsiteX15" fmla="*/ 47180 w 251509"/>
                <a:gd name="connsiteY15" fmla="*/ 31430 h 251509"/>
                <a:gd name="connsiteX16" fmla="*/ 31430 w 251509"/>
                <a:gd name="connsiteY16" fmla="*/ 31430 h 251509"/>
                <a:gd name="connsiteX17" fmla="*/ 31430 w 251509"/>
                <a:gd name="connsiteY17" fmla="*/ 47180 h 251509"/>
                <a:gd name="connsiteX18" fmla="*/ 0 w 251509"/>
                <a:gd name="connsiteY18" fmla="*/ 47180 h 251509"/>
                <a:gd name="connsiteX19" fmla="*/ 0 w 251509"/>
                <a:gd name="connsiteY19" fmla="*/ 78627 h 251509"/>
                <a:gd name="connsiteX20" fmla="*/ 31430 w 251509"/>
                <a:gd name="connsiteY20" fmla="*/ 78627 h 251509"/>
                <a:gd name="connsiteX21" fmla="*/ 31430 w 251509"/>
                <a:gd name="connsiteY21" fmla="*/ 109918 h 251509"/>
                <a:gd name="connsiteX22" fmla="*/ 0 w 251509"/>
                <a:gd name="connsiteY22" fmla="*/ 109918 h 251509"/>
                <a:gd name="connsiteX23" fmla="*/ 0 w 251509"/>
                <a:gd name="connsiteY23" fmla="*/ 141365 h 251509"/>
                <a:gd name="connsiteX24" fmla="*/ 31430 w 251509"/>
                <a:gd name="connsiteY24" fmla="*/ 141365 h 251509"/>
                <a:gd name="connsiteX25" fmla="*/ 31430 w 251509"/>
                <a:gd name="connsiteY25" fmla="*/ 141487 h 251509"/>
                <a:gd name="connsiteX26" fmla="*/ 62877 w 251509"/>
                <a:gd name="connsiteY26" fmla="*/ 141487 h 251509"/>
                <a:gd name="connsiteX27" fmla="*/ 62877 w 251509"/>
                <a:gd name="connsiteY27" fmla="*/ 62877 h 251509"/>
                <a:gd name="connsiteX28" fmla="*/ 188632 w 251509"/>
                <a:gd name="connsiteY28" fmla="*/ 62877 h 251509"/>
                <a:gd name="connsiteX29" fmla="*/ 188632 w 251509"/>
                <a:gd name="connsiteY29" fmla="*/ 188632 h 251509"/>
                <a:gd name="connsiteX30" fmla="*/ 62877 w 251509"/>
                <a:gd name="connsiteY30" fmla="*/ 188632 h 251509"/>
                <a:gd name="connsiteX31" fmla="*/ 62877 w 251509"/>
                <a:gd name="connsiteY31" fmla="*/ 172934 h 251509"/>
                <a:gd name="connsiteX32" fmla="*/ 8014 w 251509"/>
                <a:gd name="connsiteY32" fmla="*/ 172934 h 251509"/>
                <a:gd name="connsiteX33" fmla="*/ 8014 w 251509"/>
                <a:gd name="connsiteY33" fmla="*/ 172882 h 251509"/>
                <a:gd name="connsiteX34" fmla="*/ 0 w 251509"/>
                <a:gd name="connsiteY34" fmla="*/ 172882 h 251509"/>
                <a:gd name="connsiteX35" fmla="*/ 0 w 251509"/>
                <a:gd name="connsiteY35" fmla="*/ 204329 h 251509"/>
                <a:gd name="connsiteX36" fmla="*/ 31430 w 251509"/>
                <a:gd name="connsiteY36" fmla="*/ 204329 h 251509"/>
                <a:gd name="connsiteX37" fmla="*/ 31430 w 251509"/>
                <a:gd name="connsiteY37" fmla="*/ 220079 h 251509"/>
                <a:gd name="connsiteX38" fmla="*/ 47180 w 251509"/>
                <a:gd name="connsiteY38" fmla="*/ 220079 h 251509"/>
                <a:gd name="connsiteX39" fmla="*/ 47180 w 251509"/>
                <a:gd name="connsiteY39" fmla="*/ 251509 h 251509"/>
                <a:gd name="connsiteX40" fmla="*/ 78644 w 251509"/>
                <a:gd name="connsiteY40" fmla="*/ 251509 h 251509"/>
                <a:gd name="connsiteX41" fmla="*/ 78644 w 251509"/>
                <a:gd name="connsiteY41" fmla="*/ 220079 h 251509"/>
                <a:gd name="connsiteX42" fmla="*/ 109918 w 251509"/>
                <a:gd name="connsiteY42" fmla="*/ 220079 h 251509"/>
                <a:gd name="connsiteX43" fmla="*/ 109918 w 251509"/>
                <a:gd name="connsiteY43" fmla="*/ 251509 h 251509"/>
                <a:gd name="connsiteX44" fmla="*/ 141365 w 251509"/>
                <a:gd name="connsiteY44" fmla="*/ 251509 h 251509"/>
                <a:gd name="connsiteX45" fmla="*/ 141365 w 251509"/>
                <a:gd name="connsiteY45" fmla="*/ 220079 h 251509"/>
                <a:gd name="connsiteX46" fmla="*/ 172882 w 251509"/>
                <a:gd name="connsiteY46" fmla="*/ 220079 h 251509"/>
                <a:gd name="connsiteX47" fmla="*/ 172882 w 251509"/>
                <a:gd name="connsiteY47" fmla="*/ 251509 h 251509"/>
                <a:gd name="connsiteX48" fmla="*/ 204329 w 251509"/>
                <a:gd name="connsiteY48" fmla="*/ 251509 h 251509"/>
                <a:gd name="connsiteX49" fmla="*/ 204329 w 251509"/>
                <a:gd name="connsiteY49" fmla="*/ 220079 h 251509"/>
                <a:gd name="connsiteX50" fmla="*/ 220079 w 251509"/>
                <a:gd name="connsiteY50" fmla="*/ 220079 h 251509"/>
                <a:gd name="connsiteX51" fmla="*/ 220079 w 251509"/>
                <a:gd name="connsiteY51" fmla="*/ 204329 h 251509"/>
                <a:gd name="connsiteX52" fmla="*/ 251509 w 251509"/>
                <a:gd name="connsiteY52" fmla="*/ 204329 h 251509"/>
                <a:gd name="connsiteX53" fmla="*/ 251509 w 251509"/>
                <a:gd name="connsiteY53" fmla="*/ 172882 h 251509"/>
                <a:gd name="connsiteX54" fmla="*/ 220079 w 251509"/>
                <a:gd name="connsiteY54" fmla="*/ 172882 h 251509"/>
                <a:gd name="connsiteX55" fmla="*/ 220079 w 251509"/>
                <a:gd name="connsiteY55" fmla="*/ 141365 h 251509"/>
                <a:gd name="connsiteX56" fmla="*/ 251509 w 251509"/>
                <a:gd name="connsiteY56" fmla="*/ 141365 h 251509"/>
                <a:gd name="connsiteX57" fmla="*/ 251509 w 251509"/>
                <a:gd name="connsiteY57" fmla="*/ 109918 h 251509"/>
                <a:gd name="connsiteX58" fmla="*/ 220079 w 251509"/>
                <a:gd name="connsiteY58" fmla="*/ 109918 h 251509"/>
                <a:gd name="connsiteX59" fmla="*/ 220079 w 251509"/>
                <a:gd name="connsiteY59" fmla="*/ 78627 h 251509"/>
                <a:gd name="connsiteX60" fmla="*/ 251509 w 251509"/>
                <a:gd name="connsiteY60" fmla="*/ 78627 h 25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251509" h="251509">
                  <a:moveTo>
                    <a:pt x="251509" y="78627"/>
                  </a:moveTo>
                  <a:lnTo>
                    <a:pt x="251509" y="47180"/>
                  </a:lnTo>
                  <a:lnTo>
                    <a:pt x="220079" y="47180"/>
                  </a:lnTo>
                  <a:lnTo>
                    <a:pt x="220079" y="31430"/>
                  </a:lnTo>
                  <a:lnTo>
                    <a:pt x="204329" y="31430"/>
                  </a:lnTo>
                  <a:lnTo>
                    <a:pt x="204329" y="0"/>
                  </a:lnTo>
                  <a:lnTo>
                    <a:pt x="172882" y="0"/>
                  </a:lnTo>
                  <a:lnTo>
                    <a:pt x="172882" y="31430"/>
                  </a:lnTo>
                  <a:lnTo>
                    <a:pt x="141365" y="31430"/>
                  </a:lnTo>
                  <a:lnTo>
                    <a:pt x="141365" y="0"/>
                  </a:lnTo>
                  <a:lnTo>
                    <a:pt x="109918" y="0"/>
                  </a:lnTo>
                  <a:lnTo>
                    <a:pt x="109918" y="31430"/>
                  </a:lnTo>
                  <a:lnTo>
                    <a:pt x="78644" y="31430"/>
                  </a:lnTo>
                  <a:lnTo>
                    <a:pt x="78644" y="0"/>
                  </a:lnTo>
                  <a:lnTo>
                    <a:pt x="47180" y="0"/>
                  </a:lnTo>
                  <a:lnTo>
                    <a:pt x="47180" y="31430"/>
                  </a:lnTo>
                  <a:lnTo>
                    <a:pt x="31430" y="31430"/>
                  </a:lnTo>
                  <a:lnTo>
                    <a:pt x="31430" y="47180"/>
                  </a:lnTo>
                  <a:lnTo>
                    <a:pt x="0" y="47180"/>
                  </a:lnTo>
                  <a:lnTo>
                    <a:pt x="0" y="78627"/>
                  </a:lnTo>
                  <a:lnTo>
                    <a:pt x="31430" y="78627"/>
                  </a:lnTo>
                  <a:lnTo>
                    <a:pt x="31430" y="109918"/>
                  </a:lnTo>
                  <a:lnTo>
                    <a:pt x="0" y="109918"/>
                  </a:lnTo>
                  <a:lnTo>
                    <a:pt x="0" y="141365"/>
                  </a:lnTo>
                  <a:lnTo>
                    <a:pt x="31430" y="141365"/>
                  </a:lnTo>
                  <a:lnTo>
                    <a:pt x="31430" y="141487"/>
                  </a:lnTo>
                  <a:lnTo>
                    <a:pt x="62877" y="141487"/>
                  </a:lnTo>
                  <a:lnTo>
                    <a:pt x="62877" y="62877"/>
                  </a:lnTo>
                  <a:lnTo>
                    <a:pt x="188632" y="62877"/>
                  </a:lnTo>
                  <a:lnTo>
                    <a:pt x="188632" y="188632"/>
                  </a:lnTo>
                  <a:lnTo>
                    <a:pt x="62877" y="188632"/>
                  </a:lnTo>
                  <a:lnTo>
                    <a:pt x="62877" y="172934"/>
                  </a:lnTo>
                  <a:lnTo>
                    <a:pt x="8014" y="172934"/>
                  </a:lnTo>
                  <a:lnTo>
                    <a:pt x="8014" y="172882"/>
                  </a:lnTo>
                  <a:lnTo>
                    <a:pt x="0" y="172882"/>
                  </a:lnTo>
                  <a:lnTo>
                    <a:pt x="0" y="204329"/>
                  </a:lnTo>
                  <a:lnTo>
                    <a:pt x="31430" y="204329"/>
                  </a:lnTo>
                  <a:lnTo>
                    <a:pt x="31430" y="220079"/>
                  </a:lnTo>
                  <a:lnTo>
                    <a:pt x="47180" y="220079"/>
                  </a:lnTo>
                  <a:lnTo>
                    <a:pt x="47180" y="251509"/>
                  </a:lnTo>
                  <a:lnTo>
                    <a:pt x="78644" y="251509"/>
                  </a:lnTo>
                  <a:lnTo>
                    <a:pt x="78644" y="220079"/>
                  </a:lnTo>
                  <a:lnTo>
                    <a:pt x="109918" y="220079"/>
                  </a:lnTo>
                  <a:lnTo>
                    <a:pt x="109918" y="251509"/>
                  </a:lnTo>
                  <a:lnTo>
                    <a:pt x="141365" y="251509"/>
                  </a:lnTo>
                  <a:lnTo>
                    <a:pt x="141365" y="220079"/>
                  </a:lnTo>
                  <a:lnTo>
                    <a:pt x="172882" y="220079"/>
                  </a:lnTo>
                  <a:lnTo>
                    <a:pt x="172882" y="251509"/>
                  </a:lnTo>
                  <a:lnTo>
                    <a:pt x="204329" y="251509"/>
                  </a:lnTo>
                  <a:lnTo>
                    <a:pt x="204329" y="220079"/>
                  </a:lnTo>
                  <a:lnTo>
                    <a:pt x="220079" y="220079"/>
                  </a:lnTo>
                  <a:lnTo>
                    <a:pt x="220079" y="204329"/>
                  </a:lnTo>
                  <a:lnTo>
                    <a:pt x="251509" y="204329"/>
                  </a:lnTo>
                  <a:lnTo>
                    <a:pt x="251509" y="172882"/>
                  </a:lnTo>
                  <a:lnTo>
                    <a:pt x="220079" y="172882"/>
                  </a:lnTo>
                  <a:lnTo>
                    <a:pt x="220079" y="141365"/>
                  </a:lnTo>
                  <a:lnTo>
                    <a:pt x="251509" y="141365"/>
                  </a:lnTo>
                  <a:lnTo>
                    <a:pt x="251509" y="109918"/>
                  </a:lnTo>
                  <a:lnTo>
                    <a:pt x="220079" y="109918"/>
                  </a:lnTo>
                  <a:lnTo>
                    <a:pt x="220079" y="78627"/>
                  </a:lnTo>
                  <a:lnTo>
                    <a:pt x="251509" y="78627"/>
                  </a:lnTo>
                  <a:close/>
                </a:path>
              </a:pathLst>
            </a:custGeom>
            <a:grpFill/>
            <a:ln w="1732" cap="flat">
              <a:solidFill>
                <a:srgbClr val="FF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079" y="5701052"/>
            <a:ext cx="4427918" cy="70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92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24">
            <a:extLst>
              <a:ext uri="{FF2B5EF4-FFF2-40B4-BE49-F238E27FC236}">
                <a16:creationId xmlns:a16="http://schemas.microsoft.com/office/drawing/2014/main" id="{7176E395-2B0A-4BBF-BAD6-5AC67B74B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629" y="1511569"/>
            <a:ext cx="11256537" cy="1116578"/>
          </a:xfr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</a:rPr>
              <a:t>Знакомство с проектом ПК КОТ</a:t>
            </a:r>
            <a:br>
              <a:rPr lang="ru-RU" dirty="0">
                <a:solidFill>
                  <a:schemeClr val="bg1"/>
                </a:solidFill>
                <a:latin typeface="Arial" panose="020B0604020202020204" pitchFamily="34" charset="0"/>
              </a:rPr>
            </a:b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404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91" name="Слайд think-cell" r:id="rId4" imgW="473" imgH="473" progId="TCLayout.ActiveDocument.1">
                  <p:embed/>
                </p:oleObj>
              </mc:Choice>
              <mc:Fallback>
                <p:oleObj name="Слайд think-cell" r:id="rId4" imgW="473" imgH="473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07988" y="399124"/>
            <a:ext cx="10379284" cy="297962"/>
          </a:xfrm>
        </p:spPr>
        <p:txBody>
          <a:bodyPr vert="horz"/>
          <a:lstStyle/>
          <a:p>
            <a:r>
              <a:rPr lang="ru-RU" dirty="0" smtClean="0"/>
              <a:t>Цели и задачи проекта</a:t>
            </a:r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4867940"/>
              </p:ext>
            </p:extLst>
          </p:nvPr>
        </p:nvGraphicFramePr>
        <p:xfrm>
          <a:off x="461684" y="1088740"/>
          <a:ext cx="11268632" cy="1679860"/>
        </p:xfrm>
        <a:graphic>
          <a:graphicData uri="http://schemas.openxmlformats.org/drawingml/2006/table">
            <a:tbl>
              <a:tblPr firstRow="1" bandRow="1">
                <a:effectLst>
                  <a:outerShdw blurRad="127000" dist="127000" dir="2700000" algn="tl" rotWithShape="0">
                    <a:prstClr val="black">
                      <a:alpha val="5000"/>
                    </a:prstClr>
                  </a:outerShdw>
                </a:effectLst>
                <a:tableStyleId>{5C22544A-7EE6-4342-B048-85BDC9FD1C3A}</a:tableStyleId>
              </a:tblPr>
              <a:tblGrid>
                <a:gridCol w="11268632">
                  <a:extLst>
                    <a:ext uri="{9D8B030D-6E8A-4147-A177-3AD203B41FA5}">
                      <a16:colId xmlns:a16="http://schemas.microsoft.com/office/drawing/2014/main" val="4135263606"/>
                    </a:ext>
                  </a:extLst>
                </a:gridCol>
              </a:tblGrid>
              <a:tr h="474006"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ea typeface="+mn-ea"/>
                          <a:cs typeface="+mn-cs"/>
                        </a:rPr>
                        <a:t>       Цели проекта</a:t>
                      </a:r>
                      <a:endParaRPr kumimoji="0" lang="ru-RU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endParaRPr>
                    </a:p>
                  </a:txBody>
                  <a:tcPr marL="360000" marR="71779" marT="35890" marB="35890" anchor="ctr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282469"/>
                  </a:ext>
                </a:extLst>
              </a:tr>
              <a:tr h="967856">
                <a:tc>
                  <a:txBody>
                    <a:bodyPr/>
                    <a:lstStyle/>
                    <a:p>
                      <a:pPr lvl="0" algn="just" defTabSz="844083">
                        <a:spcAft>
                          <a:spcPts val="600"/>
                        </a:spcAft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Для достижения нулевого смертельного травматизма необходимо:</a:t>
                      </a:r>
                    </a:p>
                    <a:p>
                      <a:pPr marL="285750" lvl="0" indent="-285750" algn="just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Обеспечить высокую результативность 3 ключевых процессов по безопасности (идентификация опасностей и управление рисками, управление происшествиями, инспекции и аудиты)</a:t>
                      </a:r>
                    </a:p>
                    <a:p>
                      <a:pPr marL="285750" indent="-285750" algn="just" defTabSz="844083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Усовершенствовать процессы взаимодействия  и сбора данных о деятельности подрядных организаций в области ОТ и ПБ</a:t>
                      </a:r>
                      <a:endParaRPr lang="ru-RU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71779" marR="71779" marT="35890" marB="35890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1881892"/>
                  </a:ext>
                </a:extLst>
              </a:tr>
              <a:tr h="237998">
                <a:tc>
                  <a:txBody>
                    <a:bodyPr/>
                    <a:lstStyle/>
                    <a:p>
                      <a:endParaRPr kumimoji="0" lang="ru-RU" sz="1000" b="1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779" marR="71779" marT="35890" marB="35890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830925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461684" y="3320988"/>
          <a:ext cx="11268632" cy="2288968"/>
        </p:xfrm>
        <a:graphic>
          <a:graphicData uri="http://schemas.openxmlformats.org/drawingml/2006/table">
            <a:tbl>
              <a:tblPr firstRow="1" bandRow="1">
                <a:effectLst>
                  <a:outerShdw blurRad="127000" dist="127000" dir="2700000" algn="tl" rotWithShape="0">
                    <a:prstClr val="black">
                      <a:alpha val="5000"/>
                    </a:prstClr>
                  </a:outerShdw>
                </a:effectLst>
                <a:tableStyleId>{5C22544A-7EE6-4342-B048-85BDC9FD1C3A}</a:tableStyleId>
              </a:tblPr>
              <a:tblGrid>
                <a:gridCol w="11268632">
                  <a:extLst>
                    <a:ext uri="{9D8B030D-6E8A-4147-A177-3AD203B41FA5}">
                      <a16:colId xmlns:a16="http://schemas.microsoft.com/office/drawing/2014/main" val="4135263606"/>
                    </a:ext>
                  </a:extLst>
                </a:gridCol>
              </a:tblGrid>
              <a:tr h="473419"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ea typeface="+mn-ea"/>
                          <a:cs typeface="+mn-cs"/>
                        </a:rPr>
                        <a:t>       Задачи проекта</a:t>
                      </a:r>
                      <a:endParaRPr kumimoji="0" lang="ru-RU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ea typeface="+mn-ea"/>
                        <a:cs typeface="+mn-cs"/>
                      </a:endParaRPr>
                    </a:p>
                  </a:txBody>
                  <a:tcPr marL="360000" marR="71779" marT="35890" marB="35890" anchor="ctr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282469"/>
                  </a:ext>
                </a:extLst>
              </a:tr>
              <a:tr h="794174">
                <a:tc>
                  <a:txBody>
                    <a:bodyPr/>
                    <a:lstStyle/>
                    <a:p>
                      <a:pPr lvl="0" algn="just" defTabSz="844083">
                        <a:defRPr/>
                      </a:pPr>
                      <a:endParaRPr lang="ru-RU" sz="120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  <a:p>
                      <a:pPr marL="342900" lvl="0" indent="-342900" algn="just" defTabSz="844083">
                        <a:spcAft>
                          <a:spcPts val="600"/>
                        </a:spcAft>
                        <a:buFont typeface="+mj-lt"/>
                        <a:buAutoNum type="arabicPeriod"/>
                        <a:defRPr/>
                      </a:pPr>
                      <a:r>
                        <a:rPr lang="ru-RU" sz="1200" dirty="0" err="1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Цифровизовать</a:t>
                      </a: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 процессы на единой платформе, обеспечить глубокую интеграцию с другими модулями </a:t>
                      </a:r>
                      <a:r>
                        <a:rPr lang="en-US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ERP </a:t>
                      </a: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системы компании (Единые справочники, система планирования и принятия решений). Единая система для всех линейных руководителей, работников БЕ и специалистов ОТ, ПБ</a:t>
                      </a:r>
                    </a:p>
                    <a:p>
                      <a:pPr marL="342900" lvl="0" indent="-342900" algn="just" defTabSz="844083">
                        <a:spcAft>
                          <a:spcPts val="600"/>
                        </a:spcAft>
                        <a:buFont typeface="+mj-lt"/>
                        <a:buAutoNum type="arabicPeriod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Обеспечить сбор и анализ информации на стадии выбора подрядных организаций</a:t>
                      </a:r>
                    </a:p>
                    <a:p>
                      <a:pPr marL="342900" lvl="0" indent="-342900" algn="just" defTabSz="844083">
                        <a:spcAft>
                          <a:spcPts val="600"/>
                        </a:spcAft>
                        <a:buFont typeface="+mj-lt"/>
                        <a:buAutoNum type="arabicPeriod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Обеспечить мониторинг соблюдения подрядчиками требований ОТ и ПБ и оценка в процессе выполнения работ, включая периодическую отчетность</a:t>
                      </a:r>
                    </a:p>
                    <a:p>
                      <a:pPr marL="342900" lvl="0" indent="-342900" algn="just" defTabSz="844083">
                        <a:spcAft>
                          <a:spcPts val="600"/>
                        </a:spcAft>
                        <a:buFont typeface="+mj-lt"/>
                        <a:buAutoNum type="arabicPeriod"/>
                        <a:defRPr/>
                      </a:pPr>
                      <a:r>
                        <a:rPr lang="ru-RU" sz="12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Автоматизировать процессы подрядных организаций по управлению рисками; управлению отклонениями (расследование происшествий, производственный контроль, аудиты)</a:t>
                      </a:r>
                      <a:endParaRPr lang="ru-RU" sz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</a:txBody>
                  <a:tcPr marL="71779" marR="71779" marT="35890" marB="35890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1881892"/>
                  </a:ext>
                </a:extLst>
              </a:tr>
              <a:tr h="235009">
                <a:tc>
                  <a:txBody>
                    <a:bodyPr/>
                    <a:lstStyle/>
                    <a:p>
                      <a:endParaRPr kumimoji="0" lang="ru-RU" sz="1000" b="1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779" marR="71779" marT="35890" marB="35890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830925"/>
                  </a:ext>
                </a:extLst>
              </a:tr>
            </a:tbl>
          </a:graphicData>
        </a:graphic>
      </p:graphicFrame>
      <p:sp>
        <p:nvSpPr>
          <p:cNvPr id="9" name="Freeform: Shape 247">
            <a:extLst>
              <a:ext uri="{FF2B5EF4-FFF2-40B4-BE49-F238E27FC236}">
                <a16:creationId xmlns:a16="http://schemas.microsoft.com/office/drawing/2014/main" id="{D035ADF8-08DF-4B42-9739-98D7779FCAC0}"/>
              </a:ext>
            </a:extLst>
          </p:cNvPr>
          <p:cNvSpPr/>
          <p:nvPr/>
        </p:nvSpPr>
        <p:spPr>
          <a:xfrm>
            <a:off x="540626" y="1163268"/>
            <a:ext cx="541090" cy="324036"/>
          </a:xfrm>
          <a:custGeom>
            <a:avLst/>
            <a:gdLst>
              <a:gd name="connsiteX0" fmla="*/ 1198486 w 1331650"/>
              <a:gd name="connsiteY0" fmla="*/ 394739 h 856061"/>
              <a:gd name="connsiteX1" fmla="*/ 0 w 1331650"/>
              <a:gd name="connsiteY1" fmla="*/ 394739 h 856061"/>
              <a:gd name="connsiteX2" fmla="*/ 0 w 1331650"/>
              <a:gd name="connsiteY2" fmla="*/ 461322 h 856061"/>
              <a:gd name="connsiteX3" fmla="*/ 1198486 w 1331650"/>
              <a:gd name="connsiteY3" fmla="*/ 461322 h 856061"/>
              <a:gd name="connsiteX4" fmla="*/ 1198486 w 1331650"/>
              <a:gd name="connsiteY4" fmla="*/ 394739 h 856061"/>
              <a:gd name="connsiteX5" fmla="*/ 749529 w 1331650"/>
              <a:gd name="connsiteY5" fmla="*/ 0 h 856061"/>
              <a:gd name="connsiteX6" fmla="*/ 715287 w 1331650"/>
              <a:gd name="connsiteY6" fmla="*/ 57071 h 856061"/>
              <a:gd name="connsiteX7" fmla="*/ 1265068 w 1331650"/>
              <a:gd name="connsiteY7" fmla="*/ 380472 h 856061"/>
              <a:gd name="connsiteX8" fmla="*/ 1265068 w 1331650"/>
              <a:gd name="connsiteY8" fmla="*/ 475589 h 856061"/>
              <a:gd name="connsiteX9" fmla="*/ 715287 w 1331650"/>
              <a:gd name="connsiteY9" fmla="*/ 798990 h 856061"/>
              <a:gd name="connsiteX10" fmla="*/ 749529 w 1331650"/>
              <a:gd name="connsiteY10" fmla="*/ 856061 h 856061"/>
              <a:gd name="connsiteX11" fmla="*/ 1331651 w 1331650"/>
              <a:gd name="connsiteY11" fmla="*/ 513637 h 856061"/>
              <a:gd name="connsiteX12" fmla="*/ 1331651 w 1331650"/>
              <a:gd name="connsiteY12" fmla="*/ 342424 h 856061"/>
              <a:gd name="connsiteX13" fmla="*/ 749529 w 1331650"/>
              <a:gd name="connsiteY13" fmla="*/ 0 h 85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31650" h="856061">
                <a:moveTo>
                  <a:pt x="1198486" y="394739"/>
                </a:moveTo>
                <a:lnTo>
                  <a:pt x="0" y="394739"/>
                </a:lnTo>
                <a:lnTo>
                  <a:pt x="0" y="461322"/>
                </a:lnTo>
                <a:lnTo>
                  <a:pt x="1198486" y="461322"/>
                </a:lnTo>
                <a:lnTo>
                  <a:pt x="1198486" y="394739"/>
                </a:lnTo>
                <a:close/>
                <a:moveTo>
                  <a:pt x="749529" y="0"/>
                </a:moveTo>
                <a:lnTo>
                  <a:pt x="715287" y="57071"/>
                </a:lnTo>
                <a:lnTo>
                  <a:pt x="1265068" y="380472"/>
                </a:lnTo>
                <a:lnTo>
                  <a:pt x="1265068" y="475589"/>
                </a:lnTo>
                <a:lnTo>
                  <a:pt x="715287" y="798990"/>
                </a:lnTo>
                <a:lnTo>
                  <a:pt x="749529" y="856061"/>
                </a:lnTo>
                <a:lnTo>
                  <a:pt x="1331651" y="513637"/>
                </a:lnTo>
                <a:lnTo>
                  <a:pt x="1331651" y="342424"/>
                </a:lnTo>
                <a:lnTo>
                  <a:pt x="749529" y="0"/>
                </a:lnTo>
                <a:close/>
              </a:path>
            </a:pathLst>
          </a:custGeom>
          <a:solidFill>
            <a:schemeClr val="accent1"/>
          </a:solidFill>
          <a:ln w="17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reeform: Shape 247">
            <a:extLst>
              <a:ext uri="{FF2B5EF4-FFF2-40B4-BE49-F238E27FC236}">
                <a16:creationId xmlns:a16="http://schemas.microsoft.com/office/drawing/2014/main" id="{D035ADF8-08DF-4B42-9739-98D7779FCAC0}"/>
              </a:ext>
            </a:extLst>
          </p:cNvPr>
          <p:cNvSpPr/>
          <p:nvPr/>
        </p:nvSpPr>
        <p:spPr>
          <a:xfrm>
            <a:off x="551384" y="3392996"/>
            <a:ext cx="541090" cy="324036"/>
          </a:xfrm>
          <a:custGeom>
            <a:avLst/>
            <a:gdLst>
              <a:gd name="connsiteX0" fmla="*/ 1198486 w 1331650"/>
              <a:gd name="connsiteY0" fmla="*/ 394739 h 856061"/>
              <a:gd name="connsiteX1" fmla="*/ 0 w 1331650"/>
              <a:gd name="connsiteY1" fmla="*/ 394739 h 856061"/>
              <a:gd name="connsiteX2" fmla="*/ 0 w 1331650"/>
              <a:gd name="connsiteY2" fmla="*/ 461322 h 856061"/>
              <a:gd name="connsiteX3" fmla="*/ 1198486 w 1331650"/>
              <a:gd name="connsiteY3" fmla="*/ 461322 h 856061"/>
              <a:gd name="connsiteX4" fmla="*/ 1198486 w 1331650"/>
              <a:gd name="connsiteY4" fmla="*/ 394739 h 856061"/>
              <a:gd name="connsiteX5" fmla="*/ 749529 w 1331650"/>
              <a:gd name="connsiteY5" fmla="*/ 0 h 856061"/>
              <a:gd name="connsiteX6" fmla="*/ 715287 w 1331650"/>
              <a:gd name="connsiteY6" fmla="*/ 57071 h 856061"/>
              <a:gd name="connsiteX7" fmla="*/ 1265068 w 1331650"/>
              <a:gd name="connsiteY7" fmla="*/ 380472 h 856061"/>
              <a:gd name="connsiteX8" fmla="*/ 1265068 w 1331650"/>
              <a:gd name="connsiteY8" fmla="*/ 475589 h 856061"/>
              <a:gd name="connsiteX9" fmla="*/ 715287 w 1331650"/>
              <a:gd name="connsiteY9" fmla="*/ 798990 h 856061"/>
              <a:gd name="connsiteX10" fmla="*/ 749529 w 1331650"/>
              <a:gd name="connsiteY10" fmla="*/ 856061 h 856061"/>
              <a:gd name="connsiteX11" fmla="*/ 1331651 w 1331650"/>
              <a:gd name="connsiteY11" fmla="*/ 513637 h 856061"/>
              <a:gd name="connsiteX12" fmla="*/ 1331651 w 1331650"/>
              <a:gd name="connsiteY12" fmla="*/ 342424 h 856061"/>
              <a:gd name="connsiteX13" fmla="*/ 749529 w 1331650"/>
              <a:gd name="connsiteY13" fmla="*/ 0 h 856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31650" h="856061">
                <a:moveTo>
                  <a:pt x="1198486" y="394739"/>
                </a:moveTo>
                <a:lnTo>
                  <a:pt x="0" y="394739"/>
                </a:lnTo>
                <a:lnTo>
                  <a:pt x="0" y="461322"/>
                </a:lnTo>
                <a:lnTo>
                  <a:pt x="1198486" y="461322"/>
                </a:lnTo>
                <a:lnTo>
                  <a:pt x="1198486" y="394739"/>
                </a:lnTo>
                <a:close/>
                <a:moveTo>
                  <a:pt x="749529" y="0"/>
                </a:moveTo>
                <a:lnTo>
                  <a:pt x="715287" y="57071"/>
                </a:lnTo>
                <a:lnTo>
                  <a:pt x="1265068" y="380472"/>
                </a:lnTo>
                <a:lnTo>
                  <a:pt x="1265068" y="475589"/>
                </a:lnTo>
                <a:lnTo>
                  <a:pt x="715287" y="798990"/>
                </a:lnTo>
                <a:lnTo>
                  <a:pt x="749529" y="856061"/>
                </a:lnTo>
                <a:lnTo>
                  <a:pt x="1331651" y="513637"/>
                </a:lnTo>
                <a:lnTo>
                  <a:pt x="1331651" y="342424"/>
                </a:lnTo>
                <a:lnTo>
                  <a:pt x="749529" y="0"/>
                </a:lnTo>
                <a:close/>
              </a:path>
            </a:pathLst>
          </a:custGeom>
          <a:solidFill>
            <a:schemeClr val="accent1"/>
          </a:solidFill>
          <a:ln w="173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378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94905EAA-D4C2-4FD4-8143-5ED813D8176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89725" y="741871"/>
          <a:ext cx="11737299" cy="5660857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429409">
                  <a:extLst>
                    <a:ext uri="{9D8B030D-6E8A-4147-A177-3AD203B41FA5}">
                      <a16:colId xmlns:a16="http://schemas.microsoft.com/office/drawing/2014/main" val="212490648"/>
                    </a:ext>
                  </a:extLst>
                </a:gridCol>
                <a:gridCol w="2946476">
                  <a:extLst>
                    <a:ext uri="{9D8B030D-6E8A-4147-A177-3AD203B41FA5}">
                      <a16:colId xmlns:a16="http://schemas.microsoft.com/office/drawing/2014/main" val="3779695168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1997724316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3170025380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3791219331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3212986851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3747377302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2282827792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717646737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4260900254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2647307072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2843480799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1426442035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3881306913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1302166209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3032616757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3736920698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1057780480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3216412796"/>
                    </a:ext>
                  </a:extLst>
                </a:gridCol>
                <a:gridCol w="464523">
                  <a:extLst>
                    <a:ext uri="{9D8B030D-6E8A-4147-A177-3AD203B41FA5}">
                      <a16:colId xmlns:a16="http://schemas.microsoft.com/office/drawing/2014/main" val="2777855882"/>
                    </a:ext>
                  </a:extLst>
                </a:gridCol>
              </a:tblGrid>
              <a:tr h="312606">
                <a:tc>
                  <a:txBody>
                    <a:bodyPr/>
                    <a:lstStyle/>
                    <a:p>
                      <a:pPr algn="ctr"/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квартал 2022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4406" marR="84406" marT="42203" marB="108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0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квартал 2022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4406" marR="84406" marT="42203" marB="108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48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48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квартал 2023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4406" marR="84406" marT="42203" marB="108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48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48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 квартал 2023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4406" marR="84406" marT="42203" marB="108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48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48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квартал 2023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4406" marR="84406" marT="42203" marB="108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квартал 2023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4406" marR="84406" marT="42203" marB="108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48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148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7649000"/>
                  </a:ext>
                </a:extLst>
              </a:tr>
              <a:tr h="352815"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Этап</a:t>
                      </a:r>
                      <a:endParaRPr lang="ru-RU" sz="9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Название</a:t>
                      </a:r>
                      <a:r>
                        <a:rPr lang="ru-RU" sz="900" b="0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этапа</a:t>
                      </a:r>
                      <a:r>
                        <a:rPr lang="ru-RU" sz="9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проекта \</a:t>
                      </a:r>
                      <a:r>
                        <a:rPr lang="ru-RU" sz="900" b="0" baseline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 месяц</a:t>
                      </a:r>
                      <a:endParaRPr lang="ru-RU" sz="9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07</a:t>
                      </a:r>
                      <a:endParaRPr lang="ru-RU" sz="105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0</a:t>
                      </a:r>
                      <a:r>
                        <a:rPr lang="ru-RU" sz="105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  <a:endParaRPr lang="ru-RU" sz="105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latinLnBrk="0" hangingPunct="1"/>
                      <a:r>
                        <a:rPr lang="en-US" sz="105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0</a:t>
                      </a:r>
                      <a:r>
                        <a:rPr lang="ru-RU" sz="105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9</a:t>
                      </a:r>
                      <a:endParaRPr lang="ru-RU" sz="105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latinLnBrk="0" hangingPunct="1"/>
                      <a:r>
                        <a:rPr lang="ru-RU" sz="105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  <a:endParaRPr lang="ru-RU" sz="105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1</a:t>
                      </a:r>
                      <a:endParaRPr lang="ru-RU" sz="105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endParaRPr lang="ru-RU" sz="105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kern="1200" dirty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01</a:t>
                      </a:r>
                      <a:endParaRPr lang="ru-RU" sz="1050" b="0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02</a:t>
                      </a:r>
                      <a:endParaRPr lang="ru-RU" sz="105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03</a:t>
                      </a:r>
                      <a:endParaRPr lang="ru-RU" sz="105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04</a:t>
                      </a:r>
                      <a:endParaRPr lang="ru-RU" sz="105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05</a:t>
                      </a:r>
                      <a:endParaRPr lang="ru-RU" sz="105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06</a:t>
                      </a:r>
                      <a:endParaRPr lang="ru-RU" sz="105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07</a:t>
                      </a:r>
                      <a:endParaRPr lang="ru-RU" sz="105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08</a:t>
                      </a:r>
                      <a:endParaRPr lang="ru-RU" sz="105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09</a:t>
                      </a:r>
                      <a:endParaRPr lang="ru-RU" sz="105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0</a:t>
                      </a:r>
                      <a:endParaRPr lang="ru-RU" sz="105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1</a:t>
                      </a:r>
                      <a:endParaRPr lang="ru-RU" sz="105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bg1"/>
                          </a:solidFill>
                          <a:latin typeface="+mj-lt"/>
                        </a:rPr>
                        <a:t>12</a:t>
                      </a:r>
                      <a:endParaRPr lang="ru-RU" sz="1200" b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4596358"/>
                  </a:ext>
                </a:extLst>
              </a:tr>
              <a:tr h="262882">
                <a:tc rowSpan="2">
                  <a:txBody>
                    <a:bodyPr/>
                    <a:lstStyle/>
                    <a:p>
                      <a:r>
                        <a:rPr kumimoji="0" lang="en-U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ru-RU" sz="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ектирование</a:t>
                      </a:r>
                      <a:endParaRPr kumimoji="0" lang="ru-RU" sz="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b="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184007"/>
                  </a:ext>
                </a:extLst>
              </a:tr>
              <a:tr h="307849"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дготовка инфраструктуры для системы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5908695"/>
                  </a:ext>
                </a:extLst>
              </a:tr>
              <a:tr h="323707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Интеграция с кадровой системой и AD (разработка и тестирование)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91454"/>
                  </a:ext>
                </a:extLst>
              </a:tr>
              <a:tr h="447479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правление происшествиями (включая мобильную версию)  - разработка, тестирование, подготовка к ПЭ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2909646"/>
                  </a:ext>
                </a:extLst>
              </a:tr>
              <a:tr h="323707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правление происшествиями (включая мобильную версию)  - запуск на всех БЕ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7696240"/>
                  </a:ext>
                </a:extLst>
              </a:tr>
              <a:tr h="571249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216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правление аудитами, Управление рисками, Управление безопасностью подрядных организаций – разработка, тестирование, подготовка к ПЭ</a:t>
                      </a:r>
                    </a:p>
                  </a:txBody>
                  <a:tcPr marL="216000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4905885"/>
                  </a:ext>
                </a:extLst>
              </a:tr>
              <a:tr h="447479">
                <a:tc rowSpan="2"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6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правление аудитами, Управление рисками, Управление безопасностью подрядных организаций - 1 волна (ПАО «Северсталь»)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670562"/>
                  </a:ext>
                </a:extLst>
              </a:tr>
              <a:tr h="448645"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правление аудитами, Управление рисками, Управление безопасностью подрядных организаций - 2 волна (тираж на остальные БЕ)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488403"/>
                  </a:ext>
                </a:extLst>
              </a:tr>
              <a:tr h="571249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7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правление аудитами, Управление рисками, Управление безопасностью подрядных организаций) - разработка и тестирование мобильной версии, подготовка к ПЭ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039120"/>
                  </a:ext>
                </a:extLst>
              </a:tr>
              <a:tr h="571249">
                <a:tc rowSpan="2"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8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правление аудитами, Управление рисками, Управление безопасностью подрядных организаций (мобильная версия) - 1 волна ПЭ (ПАО «Северсталь»: ППП)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84539"/>
                  </a:ext>
                </a:extLst>
              </a:tr>
              <a:tr h="695020"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правление аудитами, Управление рисками, Управление безопасностью подрядных организаций (мобильная версия) -2 волна ПЭ (тираж на остальные подразделения ПАО «Северсталь» и БЕ)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216000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500" dirty="0">
                        <a:solidFill>
                          <a:schemeClr val="accent4"/>
                        </a:solidFill>
                        <a:latin typeface="+mj-lt"/>
                      </a:endParaRPr>
                    </a:p>
                  </a:txBody>
                  <a:tcPr marL="84406" marR="84406" marT="42203" marB="42203" anchor="ctr">
                    <a:lnL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396122"/>
                  </a:ext>
                </a:extLst>
              </a:tr>
            </a:tbl>
          </a:graphicData>
        </a:graphic>
      </p:graphicFrame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469" y="265239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9" name="Object 5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469" y="265239"/>
                        <a:ext cx="1465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524000" y="263769"/>
            <a:ext cx="146538" cy="14653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9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988" y="405664"/>
            <a:ext cx="10379284" cy="284881"/>
          </a:xfrm>
        </p:spPr>
        <p:txBody>
          <a:bodyPr/>
          <a:lstStyle/>
          <a:p>
            <a:r>
              <a:rPr lang="ru-RU" sz="1900" dirty="0"/>
              <a:t>План-график </a:t>
            </a:r>
            <a:r>
              <a:rPr lang="ru-RU" sz="1900" dirty="0" smtClean="0"/>
              <a:t>проекта по Этапам</a:t>
            </a:r>
            <a:endParaRPr lang="en-US" sz="1900" dirty="0"/>
          </a:p>
        </p:txBody>
      </p: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A8305198-CA9F-4842-BBDC-0108344659B7}"/>
              </a:ext>
            </a:extLst>
          </p:cNvPr>
          <p:cNvCxnSpPr>
            <a:cxnSpLocks/>
          </p:cNvCxnSpPr>
          <p:nvPr/>
        </p:nvCxnSpPr>
        <p:spPr>
          <a:xfrm>
            <a:off x="3595439" y="1556792"/>
            <a:ext cx="1744477" cy="0"/>
          </a:xfrm>
          <a:prstGeom prst="line">
            <a:avLst/>
          </a:prstGeom>
          <a:ln w="76200" cap="rnd">
            <a:solidFill>
              <a:schemeClr val="accent3"/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5F781152-1874-412B-8808-3E352B453F29}"/>
              </a:ext>
            </a:extLst>
          </p:cNvPr>
          <p:cNvCxnSpPr>
            <a:cxnSpLocks/>
          </p:cNvCxnSpPr>
          <p:nvPr/>
        </p:nvCxnSpPr>
        <p:spPr>
          <a:xfrm>
            <a:off x="5915980" y="2888940"/>
            <a:ext cx="845640" cy="0"/>
          </a:xfrm>
          <a:prstGeom prst="line">
            <a:avLst/>
          </a:prstGeom>
          <a:ln w="76200" cap="rnd">
            <a:solidFill>
              <a:srgbClr val="92D050"/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A8305198-CA9F-4842-BBDC-0108344659B7}"/>
              </a:ext>
            </a:extLst>
          </p:cNvPr>
          <p:cNvCxnSpPr>
            <a:cxnSpLocks/>
          </p:cNvCxnSpPr>
          <p:nvPr/>
        </p:nvCxnSpPr>
        <p:spPr>
          <a:xfrm>
            <a:off x="4076807" y="1798080"/>
            <a:ext cx="864096" cy="999"/>
          </a:xfrm>
          <a:prstGeom prst="line">
            <a:avLst/>
          </a:prstGeom>
          <a:ln w="76200" cap="rnd">
            <a:solidFill>
              <a:schemeClr val="accent1">
                <a:lumMod val="40000"/>
                <a:lumOff val="60000"/>
              </a:schemeClr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3683732" y="6603085"/>
            <a:ext cx="7430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ектирование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AD33047B-34A9-42F4-A83D-CF479542B1DB}"/>
              </a:ext>
            </a:extLst>
          </p:cNvPr>
          <p:cNvCxnSpPr>
            <a:cxnSpLocks/>
          </p:cNvCxnSpPr>
          <p:nvPr/>
        </p:nvCxnSpPr>
        <p:spPr>
          <a:xfrm>
            <a:off x="4548332" y="2528900"/>
            <a:ext cx="1321801" cy="0"/>
          </a:xfrm>
          <a:prstGeom prst="line">
            <a:avLst/>
          </a:prstGeom>
          <a:ln w="76200" cap="rnd">
            <a:solidFill>
              <a:schemeClr val="accent2">
                <a:lumMod val="40000"/>
                <a:lumOff val="60000"/>
              </a:schemeClr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AD33047B-34A9-42F4-A83D-CF479542B1DB}"/>
              </a:ext>
            </a:extLst>
          </p:cNvPr>
          <p:cNvCxnSpPr>
            <a:cxnSpLocks/>
          </p:cNvCxnSpPr>
          <p:nvPr/>
        </p:nvCxnSpPr>
        <p:spPr>
          <a:xfrm>
            <a:off x="3270140" y="6656946"/>
            <a:ext cx="310805" cy="2536"/>
          </a:xfrm>
          <a:prstGeom prst="line">
            <a:avLst/>
          </a:prstGeom>
          <a:ln w="76200" cap="rnd">
            <a:solidFill>
              <a:schemeClr val="accent3"/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A8305198-CA9F-4842-BBDC-0108344659B7}"/>
              </a:ext>
            </a:extLst>
          </p:cNvPr>
          <p:cNvCxnSpPr>
            <a:cxnSpLocks/>
          </p:cNvCxnSpPr>
          <p:nvPr/>
        </p:nvCxnSpPr>
        <p:spPr>
          <a:xfrm>
            <a:off x="4548332" y="2132856"/>
            <a:ext cx="791584" cy="0"/>
          </a:xfrm>
          <a:prstGeom prst="line">
            <a:avLst/>
          </a:prstGeom>
          <a:ln w="76200" cap="rnd">
            <a:solidFill>
              <a:schemeClr val="accent2">
                <a:lumMod val="40000"/>
                <a:lumOff val="60000"/>
              </a:schemeClr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AD33047B-34A9-42F4-A83D-CF479542B1DB}"/>
              </a:ext>
            </a:extLst>
          </p:cNvPr>
          <p:cNvCxnSpPr>
            <a:cxnSpLocks/>
          </p:cNvCxnSpPr>
          <p:nvPr/>
        </p:nvCxnSpPr>
        <p:spPr>
          <a:xfrm>
            <a:off x="10104895" y="4329100"/>
            <a:ext cx="1319697" cy="0"/>
          </a:xfrm>
          <a:prstGeom prst="line">
            <a:avLst/>
          </a:prstGeom>
          <a:ln w="76200" cap="rnd">
            <a:solidFill>
              <a:srgbClr val="92D050"/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5F781152-1874-412B-8808-3E352B453F29}"/>
              </a:ext>
            </a:extLst>
          </p:cNvPr>
          <p:cNvCxnSpPr>
            <a:cxnSpLocks/>
          </p:cNvCxnSpPr>
          <p:nvPr/>
        </p:nvCxnSpPr>
        <p:spPr>
          <a:xfrm>
            <a:off x="5889055" y="3392996"/>
            <a:ext cx="2720612" cy="18002"/>
          </a:xfrm>
          <a:prstGeom prst="line">
            <a:avLst/>
          </a:prstGeom>
          <a:ln w="76200" cap="rnd">
            <a:solidFill>
              <a:schemeClr val="accent2">
                <a:lumMod val="40000"/>
                <a:lumOff val="60000"/>
              </a:schemeClr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A8305198-CA9F-4842-BBDC-0108344659B7}"/>
              </a:ext>
            </a:extLst>
          </p:cNvPr>
          <p:cNvCxnSpPr>
            <a:cxnSpLocks/>
          </p:cNvCxnSpPr>
          <p:nvPr/>
        </p:nvCxnSpPr>
        <p:spPr>
          <a:xfrm>
            <a:off x="8724292" y="4869160"/>
            <a:ext cx="836253" cy="999"/>
          </a:xfrm>
          <a:prstGeom prst="line">
            <a:avLst/>
          </a:prstGeom>
          <a:ln w="76200" cap="rnd">
            <a:solidFill>
              <a:schemeClr val="accent2">
                <a:lumMod val="40000"/>
                <a:lumOff val="60000"/>
              </a:schemeClr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A8305198-CA9F-4842-BBDC-0108344659B7}"/>
              </a:ext>
            </a:extLst>
          </p:cNvPr>
          <p:cNvCxnSpPr>
            <a:cxnSpLocks/>
          </p:cNvCxnSpPr>
          <p:nvPr/>
        </p:nvCxnSpPr>
        <p:spPr>
          <a:xfrm>
            <a:off x="8724292" y="3897052"/>
            <a:ext cx="1296144" cy="0"/>
          </a:xfrm>
          <a:prstGeom prst="line">
            <a:avLst/>
          </a:prstGeom>
          <a:ln w="76200" cap="rnd">
            <a:solidFill>
              <a:srgbClr val="92D050"/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A8305198-CA9F-4842-BBDC-0108344659B7}"/>
              </a:ext>
            </a:extLst>
          </p:cNvPr>
          <p:cNvCxnSpPr>
            <a:cxnSpLocks/>
          </p:cNvCxnSpPr>
          <p:nvPr/>
        </p:nvCxnSpPr>
        <p:spPr>
          <a:xfrm>
            <a:off x="9660396" y="5409220"/>
            <a:ext cx="360040" cy="0"/>
          </a:xfrm>
          <a:prstGeom prst="line">
            <a:avLst/>
          </a:prstGeom>
          <a:ln w="76200" cap="rnd">
            <a:solidFill>
              <a:srgbClr val="92D050"/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id="{A8305198-CA9F-4842-BBDC-0108344659B7}"/>
              </a:ext>
            </a:extLst>
          </p:cNvPr>
          <p:cNvCxnSpPr>
            <a:cxnSpLocks/>
          </p:cNvCxnSpPr>
          <p:nvPr/>
        </p:nvCxnSpPr>
        <p:spPr>
          <a:xfrm>
            <a:off x="10104895" y="6093296"/>
            <a:ext cx="864096" cy="999"/>
          </a:xfrm>
          <a:prstGeom prst="line">
            <a:avLst/>
          </a:prstGeom>
          <a:ln w="76200" cap="rnd">
            <a:solidFill>
              <a:srgbClr val="92D050"/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922447" y="6614066"/>
            <a:ext cx="113592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зработка, тестирование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AD33047B-34A9-42F4-A83D-CF479542B1DB}"/>
              </a:ext>
            </a:extLst>
          </p:cNvPr>
          <p:cNvCxnSpPr>
            <a:cxnSpLocks/>
          </p:cNvCxnSpPr>
          <p:nvPr/>
        </p:nvCxnSpPr>
        <p:spPr>
          <a:xfrm>
            <a:off x="4508855" y="6667927"/>
            <a:ext cx="310805" cy="2536"/>
          </a:xfrm>
          <a:prstGeom prst="line">
            <a:avLst/>
          </a:prstGeom>
          <a:ln w="76200" cap="rnd">
            <a:solidFill>
              <a:schemeClr val="accent2">
                <a:lumMod val="40000"/>
                <a:lumOff val="60000"/>
              </a:schemeClr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6761620" y="6614066"/>
            <a:ext cx="174264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пытно-промышленная эксплуатация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AD33047B-34A9-42F4-A83D-CF479542B1DB}"/>
              </a:ext>
            </a:extLst>
          </p:cNvPr>
          <p:cNvCxnSpPr>
            <a:cxnSpLocks/>
          </p:cNvCxnSpPr>
          <p:nvPr/>
        </p:nvCxnSpPr>
        <p:spPr>
          <a:xfrm>
            <a:off x="6348028" y="6667927"/>
            <a:ext cx="310805" cy="2536"/>
          </a:xfrm>
          <a:prstGeom prst="line">
            <a:avLst/>
          </a:prstGeom>
          <a:ln w="76200" cap="rnd">
            <a:solidFill>
              <a:srgbClr val="92D050"/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9094499" y="6614066"/>
            <a:ext cx="74305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угие задачи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AD33047B-34A9-42F4-A83D-CF479542B1DB}"/>
              </a:ext>
            </a:extLst>
          </p:cNvPr>
          <p:cNvCxnSpPr>
            <a:cxnSpLocks/>
          </p:cNvCxnSpPr>
          <p:nvPr/>
        </p:nvCxnSpPr>
        <p:spPr>
          <a:xfrm>
            <a:off x="8680907" y="6667927"/>
            <a:ext cx="310805" cy="2536"/>
          </a:xfrm>
          <a:prstGeom prst="line">
            <a:avLst/>
          </a:prstGeom>
          <a:ln w="76200" cap="rnd">
            <a:solidFill>
              <a:schemeClr val="accent1">
                <a:lumMod val="40000"/>
                <a:lumOff val="60000"/>
              </a:schemeClr>
            </a:solidFill>
            <a:prstDash val="solid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4"/>
          <p:cNvCxnSpPr/>
          <p:nvPr/>
        </p:nvCxnSpPr>
        <p:spPr bwMode="auto">
          <a:xfrm flipH="1">
            <a:off x="5708135" y="1387480"/>
            <a:ext cx="1" cy="5019144"/>
          </a:xfrm>
          <a:prstGeom prst="line">
            <a:avLst/>
          </a:prstGeom>
          <a:solidFill>
            <a:srgbClr val="00B8FF"/>
          </a:solidFill>
          <a:ln w="12700" cap="flat" cmpd="sng" algn="ctr">
            <a:solidFill>
              <a:srgbClr val="0076A8"/>
            </a:solidFill>
            <a:prstDash val="dash"/>
            <a:round/>
            <a:headEnd type="diamond" w="med" len="med"/>
            <a:tailEnd type="diamond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5F781152-1874-412B-8808-3E352B453F29}"/>
              </a:ext>
            </a:extLst>
          </p:cNvPr>
          <p:cNvCxnSpPr>
            <a:cxnSpLocks/>
          </p:cNvCxnSpPr>
          <p:nvPr/>
        </p:nvCxnSpPr>
        <p:spPr>
          <a:xfrm>
            <a:off x="6852084" y="2888940"/>
            <a:ext cx="396044" cy="0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8017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C7D7AFC4-D431-4CDB-941E-F471DDFCC07E}"/>
              </a:ext>
            </a:extLst>
          </p:cNvPr>
          <p:cNvCxnSpPr/>
          <p:nvPr/>
        </p:nvCxnSpPr>
        <p:spPr bwMode="auto">
          <a:xfrm>
            <a:off x="282750" y="3380056"/>
            <a:ext cx="1137657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Прямоугольник 45"/>
          <p:cNvSpPr/>
          <p:nvPr/>
        </p:nvSpPr>
        <p:spPr>
          <a:xfrm>
            <a:off x="4093400" y="3119087"/>
            <a:ext cx="920547" cy="4924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300" b="1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115C0D7-EA2E-4C88-8DD1-D51EA8774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3219" y="320935"/>
            <a:ext cx="10379284" cy="297962"/>
          </a:xfrm>
        </p:spPr>
        <p:txBody>
          <a:bodyPr/>
          <a:lstStyle/>
          <a:p>
            <a:r>
              <a:rPr lang="ru-RU" dirty="0" smtClean="0"/>
              <a:t>ПК КОТ. Дорожная карта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514541" y="3119087"/>
            <a:ext cx="907983" cy="492414"/>
          </a:xfrm>
          <a:prstGeom prst="rect">
            <a:avLst/>
          </a:prstGeom>
          <a:solidFill>
            <a:schemeClr val="bg1"/>
          </a:solidFill>
          <a:ln w="19050">
            <a:solidFill>
              <a:srgbClr val="002F6C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3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05933" y="3240373"/>
            <a:ext cx="54901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арт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093321" y="3123430"/>
            <a:ext cx="920547" cy="492414"/>
          </a:xfrm>
          <a:prstGeom prst="rect">
            <a:avLst/>
          </a:prstGeom>
          <a:solidFill>
            <a:schemeClr val="bg1"/>
          </a:solidFill>
          <a:ln w="19050">
            <a:solidFill>
              <a:srgbClr val="002F6C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3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060095" y="3240372"/>
            <a:ext cx="97966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екабрь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194174" y="3230740"/>
            <a:ext cx="68583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</a:t>
            </a:r>
            <a:r>
              <a:rPr kumimoji="0" lang="ru-RU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в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6065991" y="3133849"/>
            <a:ext cx="920547" cy="4924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300" b="1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8038583" y="3117275"/>
            <a:ext cx="920547" cy="4924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300" b="1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9872831" y="3127495"/>
            <a:ext cx="920547" cy="4924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300" b="1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Google Shape;549;p5"/>
          <p:cNvSpPr txBox="1"/>
          <p:nvPr/>
        </p:nvSpPr>
        <p:spPr>
          <a:xfrm>
            <a:off x="352031" y="3696305"/>
            <a:ext cx="2235921" cy="73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Управление происшествиям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549;p5"/>
          <p:cNvSpPr txBox="1"/>
          <p:nvPr/>
        </p:nvSpPr>
        <p:spPr>
          <a:xfrm>
            <a:off x="1983667" y="3697613"/>
            <a:ext cx="1888201" cy="1384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Управление аудитами, рисками, подрядными организациями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549;p5"/>
          <p:cNvSpPr txBox="1"/>
          <p:nvPr/>
        </p:nvSpPr>
        <p:spPr>
          <a:xfrm>
            <a:off x="839950" y="1302870"/>
            <a:ext cx="2235921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                    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Ввод в промышленную эксплуатацию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549;p5"/>
          <p:cNvSpPr txBox="1"/>
          <p:nvPr/>
        </p:nvSpPr>
        <p:spPr>
          <a:xfrm>
            <a:off x="3998209" y="1936884"/>
            <a:ext cx="1780870" cy="1384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Бэкло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2023,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Регистрация на вводный инструктаж,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СОУТ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152861" y="3221743"/>
            <a:ext cx="68583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</a:t>
            </a:r>
            <a:r>
              <a:rPr kumimoji="0" lang="ru-RU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в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150709" y="3221170"/>
            <a:ext cx="68583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 </a:t>
            </a:r>
            <a:r>
              <a:rPr kumimoji="0" lang="ru-RU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в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9990184" y="3235429"/>
            <a:ext cx="68583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</a:t>
            </a:r>
            <a:r>
              <a:rPr kumimoji="0" lang="ru-RU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в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Google Shape;549;p5"/>
          <p:cNvSpPr txBox="1"/>
          <p:nvPr/>
        </p:nvSpPr>
        <p:spPr>
          <a:xfrm>
            <a:off x="2040913" y="952032"/>
            <a:ext cx="1306408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023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549;p5"/>
          <p:cNvSpPr txBox="1"/>
          <p:nvPr/>
        </p:nvSpPr>
        <p:spPr>
          <a:xfrm>
            <a:off x="4007488" y="952031"/>
            <a:ext cx="1306408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024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43152740-5108-1543-B9DF-7594FF215A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347321" y="1142002"/>
            <a:ext cx="532397" cy="339721"/>
          </a:xfrm>
          <a:prstGeom prst="rect">
            <a:avLst/>
          </a:prstGeom>
        </p:spPr>
      </p:pic>
      <p:sp>
        <p:nvSpPr>
          <p:cNvPr id="49" name="Google Shape;549;p5"/>
          <p:cNvSpPr txBox="1"/>
          <p:nvPr/>
        </p:nvSpPr>
        <p:spPr>
          <a:xfrm>
            <a:off x="5966177" y="2452357"/>
            <a:ext cx="2040721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Конструктор журналов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49;p5"/>
          <p:cNvSpPr txBox="1"/>
          <p:nvPr/>
        </p:nvSpPr>
        <p:spPr>
          <a:xfrm>
            <a:off x="7939006" y="2468859"/>
            <a:ext cx="1587799" cy="738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Конструктор ИОТ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549;p5"/>
          <p:cNvSpPr txBox="1"/>
          <p:nvPr/>
        </p:nvSpPr>
        <p:spPr>
          <a:xfrm>
            <a:off x="9761605" y="2057155"/>
            <a:ext cx="2277995" cy="11695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Анализ, аварий, инцидентов на ТУ, </a:t>
            </a:r>
            <a:r>
              <a:rPr kumimoji="0" lang="ru-RU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ЗиС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,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Учет строительных вагончиков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532909" y="4262005"/>
            <a:ext cx="8254538" cy="1523654"/>
          </a:xfrm>
          <a:prstGeom prst="rect">
            <a:avLst/>
          </a:prstGeom>
          <a:noFill/>
          <a:ln w="15875">
            <a:solidFill>
              <a:srgbClr val="002F6C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790834" y="4406092"/>
            <a:ext cx="166855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правление аудитами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790834" y="4848358"/>
            <a:ext cx="166855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правление рисками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790834" y="5270842"/>
            <a:ext cx="19451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рядные организации</a:t>
            </a:r>
          </a:p>
        </p:txBody>
      </p:sp>
      <p:sp>
        <p:nvSpPr>
          <p:cNvPr id="35" name="Freeform 22"/>
          <p:cNvSpPr>
            <a:spLocks noEditPoints="1"/>
          </p:cNvSpPr>
          <p:nvPr/>
        </p:nvSpPr>
        <p:spPr bwMode="auto">
          <a:xfrm rot="5400000">
            <a:off x="2550408" y="5003973"/>
            <a:ext cx="585787" cy="465138"/>
          </a:xfrm>
          <a:custGeom>
            <a:avLst/>
            <a:gdLst/>
            <a:ahLst/>
            <a:cxnLst>
              <a:cxn ang="0">
                <a:pos x="807" y="0"/>
              </a:cxn>
              <a:cxn ang="0">
                <a:pos x="657" y="0"/>
              </a:cxn>
              <a:cxn ang="0">
                <a:pos x="356" y="512"/>
              </a:cxn>
              <a:cxn ang="0">
                <a:pos x="406" y="542"/>
              </a:cxn>
              <a:cxn ang="0">
                <a:pos x="690" y="59"/>
              </a:cxn>
              <a:cxn ang="0">
                <a:pos x="774" y="59"/>
              </a:cxn>
              <a:cxn ang="0">
                <a:pos x="1058" y="542"/>
              </a:cxn>
              <a:cxn ang="0">
                <a:pos x="1108" y="512"/>
              </a:cxn>
              <a:cxn ang="0">
                <a:pos x="807" y="0"/>
              </a:cxn>
              <a:cxn ang="0">
                <a:pos x="702" y="603"/>
              </a:cxn>
              <a:cxn ang="0">
                <a:pos x="486" y="820"/>
              </a:cxn>
              <a:cxn ang="0">
                <a:pos x="0" y="820"/>
              </a:cxn>
              <a:cxn ang="0">
                <a:pos x="0" y="878"/>
              </a:cxn>
              <a:cxn ang="0">
                <a:pos x="510" y="878"/>
              </a:cxn>
              <a:cxn ang="0">
                <a:pos x="760" y="627"/>
              </a:cxn>
              <a:cxn ang="0">
                <a:pos x="760" y="117"/>
              </a:cxn>
              <a:cxn ang="0">
                <a:pos x="702" y="117"/>
              </a:cxn>
              <a:cxn ang="0">
                <a:pos x="702" y="603"/>
              </a:cxn>
            </a:cxnLst>
            <a:rect l="0" t="0" r="r" b="b"/>
            <a:pathLst>
              <a:path w="1108" h="878">
                <a:moveTo>
                  <a:pt x="807" y="0"/>
                </a:moveTo>
                <a:lnTo>
                  <a:pt x="657" y="0"/>
                </a:lnTo>
                <a:lnTo>
                  <a:pt x="356" y="512"/>
                </a:lnTo>
                <a:lnTo>
                  <a:pt x="406" y="542"/>
                </a:lnTo>
                <a:lnTo>
                  <a:pt x="690" y="59"/>
                </a:lnTo>
                <a:lnTo>
                  <a:pt x="774" y="59"/>
                </a:lnTo>
                <a:lnTo>
                  <a:pt x="1058" y="542"/>
                </a:lnTo>
                <a:lnTo>
                  <a:pt x="1108" y="512"/>
                </a:lnTo>
                <a:lnTo>
                  <a:pt x="807" y="0"/>
                </a:lnTo>
                <a:close/>
                <a:moveTo>
                  <a:pt x="702" y="603"/>
                </a:moveTo>
                <a:lnTo>
                  <a:pt x="486" y="820"/>
                </a:lnTo>
                <a:lnTo>
                  <a:pt x="0" y="820"/>
                </a:lnTo>
                <a:lnTo>
                  <a:pt x="0" y="878"/>
                </a:lnTo>
                <a:lnTo>
                  <a:pt x="510" y="878"/>
                </a:lnTo>
                <a:lnTo>
                  <a:pt x="760" y="627"/>
                </a:lnTo>
                <a:lnTo>
                  <a:pt x="760" y="117"/>
                </a:lnTo>
                <a:lnTo>
                  <a:pt x="702" y="117"/>
                </a:lnTo>
                <a:lnTo>
                  <a:pt x="702" y="603"/>
                </a:lnTo>
                <a:close/>
              </a:path>
            </a:pathLst>
          </a:custGeom>
          <a:solidFill>
            <a:srgbClr val="002F6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957420" y="4406092"/>
            <a:ext cx="312558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ПК 0, проверки всех видов,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Бы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аудиты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957420" y="4828134"/>
            <a:ext cx="59602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оценка риска рутинных работ, работ повышенной опасности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966177" y="5270842"/>
            <a:ext cx="550538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единое информационное пространство для совместной работы собственного персонала и персонала подрядной организации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02772" y="2883931"/>
            <a:ext cx="7315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мпания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184167" y="2878890"/>
            <a:ext cx="73152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РС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4739" y="207556"/>
            <a:ext cx="514350" cy="447675"/>
          </a:xfrm>
          <a:prstGeom prst="rect">
            <a:avLst/>
          </a:prstGeom>
        </p:spPr>
      </p:pic>
      <p:sp>
        <p:nvSpPr>
          <p:cNvPr id="44" name="Google Shape;539;p4"/>
          <p:cNvSpPr/>
          <p:nvPr/>
        </p:nvSpPr>
        <p:spPr>
          <a:xfrm>
            <a:off x="7540086" y="963069"/>
            <a:ext cx="4443038" cy="697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Основное преимущество системы - это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Web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-версия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buClr>
                <a:srgbClr val="FF0000"/>
              </a:buClr>
              <a:buSzPts val="1200"/>
              <a:buFont typeface="Arial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Не нужно скачивать на телефон отдельное приложение, заходим по ссылке в браузере и работаем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0205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364739" y="5301032"/>
            <a:ext cx="11366504" cy="10560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DD3EFB9-3FCA-4569-96FC-92E29EF496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29F11A-CAD2-4FD2-9793-0DC6E98D19B3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27112EAB-5B26-45A2-B7F1-0EA833DAA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6358" y="318849"/>
            <a:ext cx="10379284" cy="297962"/>
          </a:xfrm>
        </p:spPr>
        <p:txBody>
          <a:bodyPr/>
          <a:lstStyle/>
          <a:p>
            <a:r>
              <a:rPr lang="ru-RU" dirty="0" smtClean="0"/>
              <a:t>ПК КОТ. Открытые вопросы</a:t>
            </a:r>
            <a:endParaRPr lang="ru-RU" dirty="0"/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6016758" y="2617039"/>
            <a:ext cx="5200996" cy="1631216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дно окно для сбора списков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вторная высылка паролей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ат в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napse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с быстрой ОС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6085446" y="981127"/>
            <a:ext cx="3214120" cy="338554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ак действуем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423002" y="1501246"/>
            <a:ext cx="4735512" cy="584775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кудная обратная связь со стороны пользователей до момента старта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397434" y="981127"/>
            <a:ext cx="3214120" cy="338554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опросы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43152740-5108-1543-B9DF-7594FF215A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153366" y="1663157"/>
            <a:ext cx="408954" cy="260952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397434" y="2902297"/>
            <a:ext cx="4735512" cy="338554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ложности с подключением рабочих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6016758" y="1437776"/>
            <a:ext cx="5876513" cy="584775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влечение производственников для определения доработок и обсуждения приоритетности их реализации</a:t>
            </a: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43152740-5108-1543-B9DF-7594FF215A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132946" y="2915763"/>
            <a:ext cx="408954" cy="260952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397434" y="4078978"/>
            <a:ext cx="4735512" cy="338554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епонимание функционала системы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3152740-5108-1543-B9DF-7594FF215A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152320" y="4117779"/>
            <a:ext cx="408954" cy="260952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6036132" y="3988464"/>
            <a:ext cx="5200996" cy="1554272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шаговые инструкции по направлениям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правочник по программе с короткими видео в формате курса СЭДО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4739" y="207556"/>
            <a:ext cx="514350" cy="44767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397434" y="5365168"/>
            <a:ext cx="10190739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лючевой пользователь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 каждом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разделени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аты в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napse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 каждому направлению для ключевых пользователей –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9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чел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стречи Вопросы и ответы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раза  неделю – посещаемость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-250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ел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стречи по запросу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дельно по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изводствам -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раз в неделю (УГЭ, КАДП, ЦДР, Дирекция по инвестициям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Заголовок 3">
            <a:extLst>
              <a:ext uri="{FF2B5EF4-FFF2-40B4-BE49-F238E27FC236}">
                <a16:creationId xmlns:a16="http://schemas.microsoft.com/office/drawing/2014/main" id="{27112EAB-5B26-45A2-B7F1-0EA833DAAF55}"/>
              </a:ext>
            </a:extLst>
          </p:cNvPr>
          <p:cNvSpPr txBox="1">
            <a:spLocks/>
          </p:cNvSpPr>
          <p:nvPr/>
        </p:nvSpPr>
        <p:spPr>
          <a:xfrm>
            <a:off x="423002" y="5029231"/>
            <a:ext cx="6122122" cy="271801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49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2pPr>
            <a:lvl3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3pPr>
            <a:lvl4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4pPr>
            <a:lvl5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5pPr>
            <a:lvl6pPr marL="422041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83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24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65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pPr marL="0" marR="0" lvl="0" indent="0" algn="l" defTabSz="883649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Поддержка пользователей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: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576888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07988" y="3941461"/>
            <a:ext cx="11366504" cy="243440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50FA3ED6-D0BD-4B98-B23B-8DF39429C27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07987" y="1213715"/>
          <a:ext cx="11366504" cy="18637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57925">
                  <a:extLst>
                    <a:ext uri="{9D8B030D-6E8A-4147-A177-3AD203B41FA5}">
                      <a16:colId xmlns:a16="http://schemas.microsoft.com/office/drawing/2014/main" val="2052779202"/>
                    </a:ext>
                  </a:extLst>
                </a:gridCol>
                <a:gridCol w="1870364">
                  <a:extLst>
                    <a:ext uri="{9D8B030D-6E8A-4147-A177-3AD203B41FA5}">
                      <a16:colId xmlns:a16="http://schemas.microsoft.com/office/drawing/2014/main" val="78735721"/>
                    </a:ext>
                  </a:extLst>
                </a:gridCol>
                <a:gridCol w="1970117">
                  <a:extLst>
                    <a:ext uri="{9D8B030D-6E8A-4147-A177-3AD203B41FA5}">
                      <a16:colId xmlns:a16="http://schemas.microsoft.com/office/drawing/2014/main" val="4268556142"/>
                    </a:ext>
                  </a:extLst>
                </a:gridCol>
                <a:gridCol w="4268098">
                  <a:extLst>
                    <a:ext uri="{9D8B030D-6E8A-4147-A177-3AD203B41FA5}">
                      <a16:colId xmlns:a16="http://schemas.microsoft.com/office/drawing/2014/main" val="3417236482"/>
                    </a:ext>
                  </a:extLst>
                </a:gridCol>
              </a:tblGrid>
              <a:tr h="290889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Наименование</a:t>
                      </a:r>
                    </a:p>
                  </a:txBody>
                  <a:tcPr marL="108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План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08000" marR="199385" marT="42203" marB="42203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Факт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08000" marR="199385" marT="42203" marB="42203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Поддержка пользователей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08000" marR="199385" marT="42203" marB="42203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225686"/>
                  </a:ext>
                </a:extLst>
              </a:tr>
              <a:tr h="522000">
                <a:tc>
                  <a:txBody>
                    <a:bodyPr/>
                    <a:lstStyle/>
                    <a:p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Подключено рабочих, чел.</a:t>
                      </a:r>
                      <a:endParaRPr kumimoji="0" lang="ru-RU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9 000</a:t>
                      </a:r>
                      <a:endParaRPr kumimoji="0" lang="ru-RU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99385" marT="42203" marB="42203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6 524</a:t>
                      </a:r>
                      <a:endParaRPr kumimoji="0" lang="ru-RU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99385" marT="42203" marB="42203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554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Чат в </a:t>
                      </a:r>
                      <a:r>
                        <a:rPr kumimoji="0" lang="en-US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Synapse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– </a:t>
                      </a:r>
                      <a:r>
                        <a:rPr kumimoji="0" lang="ru-RU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 022 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участника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554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</a:rPr>
                        <a:t>Почтовый ящик для сбора обратной связи по </a:t>
                      </a:r>
                      <a:r>
                        <a:rPr lang="ru-RU" sz="1400" dirty="0" err="1" smtClean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</a:rPr>
                        <a:t>дашборду</a:t>
                      </a:r>
                      <a:r>
                        <a:rPr lang="ru-RU" sz="1400" dirty="0" smtClean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</a:rPr>
                        <a:t> КББ – </a:t>
                      </a:r>
                      <a:r>
                        <a:rPr lang="en-US" sz="1400" dirty="0" smtClean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</a:rPr>
                        <a:t>&gt; </a:t>
                      </a:r>
                      <a:r>
                        <a:rPr lang="en-US" sz="1400" b="1" dirty="0" smtClean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</a:rPr>
                        <a:t>43 </a:t>
                      </a:r>
                      <a:r>
                        <a:rPr lang="ru-RU" sz="1400" b="1" dirty="0" smtClean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</a:rPr>
                        <a:t>тыс</a:t>
                      </a:r>
                      <a:r>
                        <a:rPr lang="ru-RU" sz="1400" dirty="0" smtClean="0">
                          <a:solidFill>
                            <a:srgbClr val="000000">
                              <a:lumMod val="75000"/>
                              <a:lumOff val="25000"/>
                            </a:srgbClr>
                          </a:solidFill>
                          <a:latin typeface="+mn-lt"/>
                        </a:rPr>
                        <a:t>. пользователей</a:t>
                      </a:r>
                    </a:p>
                    <a:p>
                      <a:pPr algn="r"/>
                      <a:endParaRPr kumimoji="0" lang="ru-RU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99385" marT="42203" marB="42203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546792"/>
                  </a:ext>
                </a:extLst>
              </a:tr>
              <a:tr h="522000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Сформировано журналов ПК 0,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ед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7 189</a:t>
                      </a:r>
                      <a:endParaRPr kumimoji="0" lang="ru-RU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99385" marT="42203" marB="42203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5 288</a:t>
                      </a:r>
                      <a:endParaRPr kumimoji="0" lang="ru-RU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99385" marT="42203" marB="42203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0" lang="ru-RU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99385" marT="42203" marB="42203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0265967"/>
                  </a:ext>
                </a:extLst>
              </a:tr>
              <a:tr h="522000"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Проверено технических барьеров, ед.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84406" marT="42203" marB="4220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1 489</a:t>
                      </a:r>
                      <a:endParaRPr kumimoji="0" lang="ru-RU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99385" marT="42203" marB="42203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ru-RU" sz="18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10 697</a:t>
                      </a:r>
                      <a:endParaRPr kumimoji="0" lang="ru-RU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99385" marT="42203" marB="42203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0" lang="ru-RU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99385" marT="42203" marB="42203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8552207"/>
                  </a:ext>
                </a:extLst>
              </a:tr>
            </a:tbl>
          </a:graphicData>
        </a:graphic>
      </p:graphicFrame>
      <p:sp>
        <p:nvSpPr>
          <p:cNvPr id="8" name="Заголовок 3">
            <a:extLst>
              <a:ext uri="{FF2B5EF4-FFF2-40B4-BE49-F238E27FC236}">
                <a16:creationId xmlns:a16="http://schemas.microsoft.com/office/drawing/2014/main" id="{27112EAB-5B26-45A2-B7F1-0EA833DAA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1597" y="334782"/>
            <a:ext cx="10379284" cy="297962"/>
          </a:xfrm>
        </p:spPr>
        <p:txBody>
          <a:bodyPr/>
          <a:lstStyle/>
          <a:p>
            <a:r>
              <a:rPr lang="ru-RU" dirty="0" smtClean="0"/>
              <a:t>ПК КОТ СРС. Контроль КББ статус </a:t>
            </a:r>
            <a:r>
              <a:rPr lang="ru-RU" dirty="0"/>
              <a:t>на 12.12.2023</a:t>
            </a:r>
          </a:p>
        </p:txBody>
      </p:sp>
      <p:sp>
        <p:nvSpPr>
          <p:cNvPr id="9" name="Заголовок 3">
            <a:extLst>
              <a:ext uri="{FF2B5EF4-FFF2-40B4-BE49-F238E27FC236}">
                <a16:creationId xmlns:a16="http://schemas.microsoft.com/office/drawing/2014/main" id="{27112EAB-5B26-45A2-B7F1-0EA833DAAF55}"/>
              </a:ext>
            </a:extLst>
          </p:cNvPr>
          <p:cNvSpPr txBox="1">
            <a:spLocks/>
          </p:cNvSpPr>
          <p:nvPr/>
        </p:nvSpPr>
        <p:spPr>
          <a:xfrm>
            <a:off x="407987" y="3607190"/>
            <a:ext cx="6122122" cy="245640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49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2pPr>
            <a:lvl3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3pPr>
            <a:lvl4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4pPr>
            <a:lvl5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5pPr>
            <a:lvl6pPr marL="422041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83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24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65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pPr marL="0" marR="0" lvl="0" indent="0" algn="l" defTabSz="883649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Преимущества новой системы: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555769" y="4067904"/>
            <a:ext cx="3997758" cy="307777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ключили необходимость: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555769" y="4508063"/>
            <a:ext cx="5213134" cy="1477328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бора табельного номера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бора локации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полнения короткого чек-листа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блирования комментариев на выявленные отклонения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чного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ведения справочников активных локаций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6187306" y="4065227"/>
            <a:ext cx="3997758" cy="307777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Дополнительные возможности: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12277BB-0B72-4226-9B93-12A805EF0D56}"/>
              </a:ext>
            </a:extLst>
          </p:cNvPr>
          <p:cNvSpPr/>
          <p:nvPr/>
        </p:nvSpPr>
        <p:spPr>
          <a:xfrm>
            <a:off x="6187306" y="4508063"/>
            <a:ext cx="5278583" cy="1985159"/>
          </a:xfrm>
          <a:prstGeom prst="rect">
            <a:avLst/>
          </a:prstGeom>
          <a:noFill/>
        </p:spPr>
        <p:txBody>
          <a:bodyPr wrap="square" lIns="0" anchor="t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рмирование М3 на выявленную неисправность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анирование проверок по ПК в системе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нкция копирования при выборе ответственных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торизация пользователей в системе исключает проведение контроля КББ за другого сотрудника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739" y="207556"/>
            <a:ext cx="514350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430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pgYziwa8E7KBtBawNm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QN6qqVQeuvK2zm9KdF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verstal_new">
  <a:themeElements>
    <a:clrScheme name="Другая 8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002F6C"/>
      </a:accent2>
      <a:accent3>
        <a:srgbClr val="909090"/>
      </a:accent3>
      <a:accent4>
        <a:srgbClr val="00635B"/>
      </a:accent4>
      <a:accent5>
        <a:srgbClr val="523178"/>
      </a:accent5>
      <a:accent6>
        <a:srgbClr val="6F263D"/>
      </a:accent6>
      <a:hlink>
        <a:srgbClr val="00B0F0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Severstal_new">
  <a:themeElements>
    <a:clrScheme name="Другая 8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002F6C"/>
      </a:accent2>
      <a:accent3>
        <a:srgbClr val="909090"/>
      </a:accent3>
      <a:accent4>
        <a:srgbClr val="00635B"/>
      </a:accent4>
      <a:accent5>
        <a:srgbClr val="523178"/>
      </a:accent5>
      <a:accent6>
        <a:srgbClr val="6F263D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everstal_new">
  <a:themeElements>
    <a:clrScheme name="Severstal_colors">
      <a:dk1>
        <a:srgbClr val="000000"/>
      </a:dk1>
      <a:lt1>
        <a:srgbClr val="FFFFFF"/>
      </a:lt1>
      <a:dk2>
        <a:srgbClr val="002F6C"/>
      </a:dk2>
      <a:lt2>
        <a:srgbClr val="909090"/>
      </a:lt2>
      <a:accent1>
        <a:srgbClr val="FF0000"/>
      </a:accent1>
      <a:accent2>
        <a:srgbClr val="001E46"/>
      </a:accent2>
      <a:accent3>
        <a:srgbClr val="6F263D"/>
      </a:accent3>
      <a:accent4>
        <a:srgbClr val="523178"/>
      </a:accent4>
      <a:accent5>
        <a:srgbClr val="00635B"/>
      </a:accent5>
      <a:accent6>
        <a:srgbClr val="696158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Severstal_new">
  <a:themeElements>
    <a:clrScheme name="Другая 106">
      <a:dk1>
        <a:srgbClr val="000000"/>
      </a:dk1>
      <a:lt1>
        <a:srgbClr val="FFFFFF"/>
      </a:lt1>
      <a:dk2>
        <a:srgbClr val="002F6C"/>
      </a:dk2>
      <a:lt2>
        <a:srgbClr val="909090"/>
      </a:lt2>
      <a:accent1>
        <a:srgbClr val="FF0000"/>
      </a:accent1>
      <a:accent2>
        <a:srgbClr val="001E46"/>
      </a:accent2>
      <a:accent3>
        <a:srgbClr val="6F263D"/>
      </a:accent3>
      <a:accent4>
        <a:srgbClr val="523178"/>
      </a:accent4>
      <a:accent5>
        <a:srgbClr val="00635B"/>
      </a:accent5>
      <a:accent6>
        <a:srgbClr val="696158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CFCA0C5AA86EE145BC17E2CA739E716E" ma:contentTypeVersion="8" ma:contentTypeDescription="Создание документа." ma:contentTypeScope="" ma:versionID="d210b48dc4ffa6a15f39d6910f6bba7a">
  <xsd:schema xmlns:xsd="http://www.w3.org/2001/XMLSchema" xmlns:xs="http://www.w3.org/2001/XMLSchema" xmlns:p="http://schemas.microsoft.com/office/2006/metadata/properties" xmlns:ns2="263edb1f-657d-438c-b14b-9001125b32ac" xmlns:ns3="044620c9-414b-44bf-b2fb-d2f47727c48b" targetNamespace="http://schemas.microsoft.com/office/2006/metadata/properties" ma:root="true" ma:fieldsID="949fda1ba9866ba7a5af3659fdc9d9ef" ns2:_="" ns3:_="">
    <xsd:import namespace="263edb1f-657d-438c-b14b-9001125b32ac"/>
    <xsd:import namespace="044620c9-414b-44bf-b2fb-d2f47727c4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3edb1f-657d-438c-b14b-9001125b32a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4620c9-414b-44bf-b2fb-d2f47727c48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EC59F69-D2F5-4497-9AE7-538B85C25F15}">
  <ds:schemaRefs>
    <ds:schemaRef ds:uri="044620c9-414b-44bf-b2fb-d2f47727c48b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263edb1f-657d-438c-b14b-9001125b32ac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F173695-8951-407C-A603-6AA2BFFBE6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390556-7856-4B8F-A2BC-8405405CCB72}">
  <ds:schemaRefs>
    <ds:schemaRef ds:uri="044620c9-414b-44bf-b2fb-d2f47727c48b"/>
    <ds:schemaRef ds:uri="263edb1f-657d-438c-b14b-9001125b32a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8177</TotalTime>
  <Words>1525</Words>
  <Application>Microsoft Office PowerPoint</Application>
  <PresentationFormat>Широкоэкранный</PresentationFormat>
  <Paragraphs>295</Paragraphs>
  <Slides>1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4" baseType="lpstr">
      <vt:lpstr>Arial</vt:lpstr>
      <vt:lpstr>Calibri</vt:lpstr>
      <vt:lpstr>FS Severstal</vt:lpstr>
      <vt:lpstr>Times New Roman</vt:lpstr>
      <vt:lpstr>Wingdings</vt:lpstr>
      <vt:lpstr>Severstal_new</vt:lpstr>
      <vt:lpstr>3_Severstal_new</vt:lpstr>
      <vt:lpstr>1_Severstal_new</vt:lpstr>
      <vt:lpstr>2_Severstal_new</vt:lpstr>
      <vt:lpstr>think-cell Slide</vt:lpstr>
      <vt:lpstr>Слайд think-cell</vt:lpstr>
      <vt:lpstr>Презентация PowerPoint</vt:lpstr>
      <vt:lpstr>Предпосылки внедрения</vt:lpstr>
      <vt:lpstr>Выгоды и результаты от реализации решения ПК КОТ </vt:lpstr>
      <vt:lpstr>Знакомство с проектом ПК КОТ </vt:lpstr>
      <vt:lpstr>Цели и задачи проекта</vt:lpstr>
      <vt:lpstr>План-график проекта по Этапам</vt:lpstr>
      <vt:lpstr>ПК КОТ. Дорожная карта</vt:lpstr>
      <vt:lpstr>ПК КОТ. Открытые вопросы</vt:lpstr>
      <vt:lpstr>ПК КОТ СРС. Контроль КББ статус на 12.12.2023</vt:lpstr>
      <vt:lpstr>Сравнение функционала ППК «Поведенческий аудит безопасности» (ППК ПАБ) и ПК «Контроль охраны труда» (ПК КОТ) </vt:lpstr>
      <vt:lpstr>Презентация PowerPoint</vt:lpstr>
      <vt:lpstr>Презентация PowerPoint</vt:lpstr>
      <vt:lpstr> Спасибо за внимание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ffice</dc:creator>
  <cp:lastModifiedBy>Кузьменко Ирина Ивановна</cp:lastModifiedBy>
  <cp:revision>648</cp:revision>
  <dcterms:created xsi:type="dcterms:W3CDTF">2018-07-05T12:56:36Z</dcterms:created>
  <dcterms:modified xsi:type="dcterms:W3CDTF">2024-08-20T11:3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CA0C5AA86EE145BC17E2CA739E716E</vt:lpwstr>
  </property>
  <property fmtid="{D5CDD505-2E9C-101B-9397-08002B2CF9AE}" pid="3" name="Order">
    <vt:r8>19500</vt:r8>
  </property>
  <property fmtid="{D5CDD505-2E9C-101B-9397-08002B2CF9AE}" pid="4" name="TemplateUrl">
    <vt:lpwstr/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DocumentSetDescription">
    <vt:lpwstr/>
  </property>
</Properties>
</file>